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5" r:id="rId2"/>
  </p:sldMasterIdLst>
  <p:sldIdLst>
    <p:sldId id="256" r:id="rId3"/>
    <p:sldId id="257" r:id="rId4"/>
    <p:sldId id="258" r:id="rId5"/>
    <p:sldId id="300" r:id="rId6"/>
    <p:sldId id="275" r:id="rId7"/>
    <p:sldId id="260" r:id="rId8"/>
    <p:sldId id="284" r:id="rId9"/>
    <p:sldId id="291" r:id="rId10"/>
    <p:sldId id="295" r:id="rId11"/>
    <p:sldId id="276" r:id="rId12"/>
    <p:sldId id="298" r:id="rId13"/>
    <p:sldId id="301" r:id="rId14"/>
    <p:sldId id="302" r:id="rId15"/>
    <p:sldId id="278" r:id="rId16"/>
    <p:sldId id="294" r:id="rId17"/>
    <p:sldId id="283" r:id="rId18"/>
    <p:sldId id="277" r:id="rId19"/>
    <p:sldId id="265" r:id="rId20"/>
    <p:sldId id="269" r:id="rId21"/>
    <p:sldId id="297" r:id="rId22"/>
    <p:sldId id="296" r:id="rId23"/>
    <p:sldId id="299" r:id="rId24"/>
    <p:sldId id="266" r:id="rId2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3605" autoAdjust="0"/>
  </p:normalViewPr>
  <p:slideViewPr>
    <p:cSldViewPr snapToGrid="0" snapToObjects="1">
      <p:cViewPr varScale="1">
        <p:scale>
          <a:sx n="69" d="100"/>
          <a:sy n="69" d="100"/>
        </p:scale>
        <p:origin x="-198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7C5650-9A09-3649-A68D-46F6E66FBBEB}" type="doc">
      <dgm:prSet loTypeId="urn:microsoft.com/office/officeart/2005/8/layout/StepDownProcess" loCatId="" qsTypeId="urn:microsoft.com/office/officeart/2005/8/quickstyle/3d5" qsCatId="3D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945B3804-9344-8747-AFD3-719814E64005}">
      <dgm:prSet phldrT="[Text]"/>
      <dgm:spPr/>
      <dgm:t>
        <a:bodyPr/>
        <a:lstStyle/>
        <a:p>
          <a:r>
            <a:rPr lang="en-US" b="1" dirty="0"/>
            <a:t>DWH</a:t>
          </a:r>
        </a:p>
      </dgm:t>
    </dgm:pt>
    <dgm:pt modelId="{B4AC28DB-BFF0-1740-A008-9CA93C35C9AE}" type="sibTrans" cxnId="{A0383D04-3EC1-7546-B0C0-BF5954323402}">
      <dgm:prSet/>
      <dgm:spPr/>
      <dgm:t>
        <a:bodyPr/>
        <a:lstStyle/>
        <a:p>
          <a:endParaRPr lang="en-US"/>
        </a:p>
      </dgm:t>
    </dgm:pt>
    <dgm:pt modelId="{7F913270-515D-C846-956A-98F888CC215F}" type="parTrans" cxnId="{A0383D04-3EC1-7546-B0C0-BF5954323402}">
      <dgm:prSet/>
      <dgm:spPr/>
      <dgm:t>
        <a:bodyPr/>
        <a:lstStyle/>
        <a:p>
          <a:endParaRPr lang="en-US"/>
        </a:p>
      </dgm:t>
    </dgm:pt>
    <dgm:pt modelId="{EA46AFB2-6B23-404E-A3F8-DA98DD5EA320}">
      <dgm:prSet phldrT="[Text]"/>
      <dgm:spPr/>
      <dgm:t>
        <a:bodyPr/>
        <a:lstStyle/>
        <a:p>
          <a:r>
            <a:rPr lang="en-US" b="1" dirty="0"/>
            <a:t>Staging Area</a:t>
          </a:r>
        </a:p>
      </dgm:t>
    </dgm:pt>
    <dgm:pt modelId="{B38FCDA0-1085-CA4F-8076-D3766E08277F}" type="sibTrans" cxnId="{7E0370E1-A343-3746-8AEE-D317D608CF8A}">
      <dgm:prSet/>
      <dgm:spPr/>
      <dgm:t>
        <a:bodyPr/>
        <a:lstStyle/>
        <a:p>
          <a:endParaRPr lang="en-US"/>
        </a:p>
      </dgm:t>
    </dgm:pt>
    <dgm:pt modelId="{4C819AED-B26F-F74D-9E79-E65D26B75BE8}" type="parTrans" cxnId="{7E0370E1-A343-3746-8AEE-D317D608CF8A}">
      <dgm:prSet/>
      <dgm:spPr/>
      <dgm:t>
        <a:bodyPr/>
        <a:lstStyle/>
        <a:p>
          <a:endParaRPr lang="en-US"/>
        </a:p>
      </dgm:t>
    </dgm:pt>
    <dgm:pt modelId="{7C0185FA-A9EC-4E4A-85DA-47FD2E2D0E57}">
      <dgm:prSet phldrT="[Text]"/>
      <dgm:spPr/>
      <dgm:t>
        <a:bodyPr/>
        <a:lstStyle/>
        <a:p>
          <a:r>
            <a:rPr lang="en-US" b="1" dirty="0"/>
            <a:t>Raw Data</a:t>
          </a:r>
        </a:p>
      </dgm:t>
    </dgm:pt>
    <dgm:pt modelId="{4CE2C9BF-DDD2-BE4A-BBE1-436C05CEDDA1}" type="sibTrans" cxnId="{4175D73A-138F-7C42-BA06-44158D3E75D8}">
      <dgm:prSet/>
      <dgm:spPr/>
      <dgm:t>
        <a:bodyPr/>
        <a:lstStyle/>
        <a:p>
          <a:endParaRPr lang="en-US"/>
        </a:p>
      </dgm:t>
    </dgm:pt>
    <dgm:pt modelId="{0F4C293D-6BAA-574C-A60B-E66C45570CE0}" type="parTrans" cxnId="{4175D73A-138F-7C42-BA06-44158D3E75D8}">
      <dgm:prSet/>
      <dgm:spPr/>
      <dgm:t>
        <a:bodyPr/>
        <a:lstStyle/>
        <a:p>
          <a:endParaRPr lang="en-US"/>
        </a:p>
      </dgm:t>
    </dgm:pt>
    <dgm:pt modelId="{EE998AEE-F9AC-1E48-992E-9055AEFC8E41}">
      <dgm:prSet/>
      <dgm:spPr/>
      <dgm:t>
        <a:bodyPr/>
        <a:lstStyle/>
        <a:p>
          <a:r>
            <a:rPr lang="en-US" b="1" dirty="0" smtClean="0"/>
            <a:t>Reporting</a:t>
          </a:r>
          <a:endParaRPr lang="en-US" b="1" dirty="0"/>
        </a:p>
      </dgm:t>
    </dgm:pt>
    <dgm:pt modelId="{AC86588F-BE13-F94E-B744-46C83551BFBB}" type="parTrans" cxnId="{B4EC18F8-784D-BD44-B363-5E831AA7A4A1}">
      <dgm:prSet/>
      <dgm:spPr/>
      <dgm:t>
        <a:bodyPr/>
        <a:lstStyle/>
        <a:p>
          <a:endParaRPr lang="en-US"/>
        </a:p>
      </dgm:t>
    </dgm:pt>
    <dgm:pt modelId="{80DEFF2A-2183-BF41-ADD3-7E71C7FC8D0E}" type="sibTrans" cxnId="{B4EC18F8-784D-BD44-B363-5E831AA7A4A1}">
      <dgm:prSet/>
      <dgm:spPr/>
      <dgm:t>
        <a:bodyPr/>
        <a:lstStyle/>
        <a:p>
          <a:endParaRPr lang="en-US"/>
        </a:p>
      </dgm:t>
    </dgm:pt>
    <dgm:pt modelId="{2D173169-9929-CF48-BA5D-88148431EC76}" type="pres">
      <dgm:prSet presAssocID="{907C5650-9A09-3649-A68D-46F6E66FBBEB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4893BB9E-09FF-2F46-922C-A74372D9B21F}" type="pres">
      <dgm:prSet presAssocID="{7C0185FA-A9EC-4E4A-85DA-47FD2E2D0E57}" presName="composite" presStyleCnt="0"/>
      <dgm:spPr/>
    </dgm:pt>
    <dgm:pt modelId="{C4016C8C-9E04-6049-8140-F1BF8C2D26DF}" type="pres">
      <dgm:prSet presAssocID="{7C0185FA-A9EC-4E4A-85DA-47FD2E2D0E57}" presName="bentUpArrow1" presStyleLbl="alignImgPlace1" presStyleIdx="0" presStyleCnt="3"/>
      <dgm:spPr/>
    </dgm:pt>
    <dgm:pt modelId="{2EB69923-FD5F-C84E-A56C-44BF63FDE771}" type="pres">
      <dgm:prSet presAssocID="{7C0185FA-A9EC-4E4A-85DA-47FD2E2D0E57}" presName="ParentText" presStyleLbl="node1" presStyleIdx="0" presStyleCnt="4" custLinFactNeighborX="-15560" custLinFactNeighborY="-253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3E399B-C948-AD46-A690-2D403786123B}" type="pres">
      <dgm:prSet presAssocID="{7C0185FA-A9EC-4E4A-85DA-47FD2E2D0E57}" presName="ChildText" presStyleLbl="revTx" presStyleIdx="0" presStyleCnt="3" custScaleX="369180" custScaleY="83982" custLinFactX="84224" custLinFactNeighborX="100000" custLinFactNeighborY="3056">
        <dgm:presLayoutVars>
          <dgm:chMax val="0"/>
          <dgm:chPref val="0"/>
          <dgm:bulletEnabled val="1"/>
        </dgm:presLayoutVars>
      </dgm:prSet>
      <dgm:spPr/>
    </dgm:pt>
    <dgm:pt modelId="{21500F4A-D6C2-C94D-A704-764DE0125BEE}" type="pres">
      <dgm:prSet presAssocID="{4CE2C9BF-DDD2-BE4A-BBE1-436C05CEDDA1}" presName="sibTrans" presStyleCnt="0"/>
      <dgm:spPr/>
    </dgm:pt>
    <dgm:pt modelId="{4C48EDF4-827E-DB46-B547-BCA50AFA9252}" type="pres">
      <dgm:prSet presAssocID="{EA46AFB2-6B23-404E-A3F8-DA98DD5EA320}" presName="composite" presStyleCnt="0"/>
      <dgm:spPr/>
    </dgm:pt>
    <dgm:pt modelId="{1225251C-DB1D-8946-9BD1-E9E21E1FEC69}" type="pres">
      <dgm:prSet presAssocID="{EA46AFB2-6B23-404E-A3F8-DA98DD5EA320}" presName="bentUpArrow1" presStyleLbl="alignImgPlace1" presStyleIdx="1" presStyleCnt="3" custLinFactNeighborX="-37068" custLinFactNeighborY="2910"/>
      <dgm:spPr/>
    </dgm:pt>
    <dgm:pt modelId="{6F3C14F7-DC93-1A42-9892-A48C5C7C9762}" type="pres">
      <dgm:prSet presAssocID="{EA46AFB2-6B23-404E-A3F8-DA98DD5EA320}" presName="ParentText" presStyleLbl="node1" presStyleIdx="1" presStyleCnt="4" custScaleY="100080" custLinFactNeighborX="-5100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7D64CA-6C85-5745-8499-5F5F854C2482}" type="pres">
      <dgm:prSet presAssocID="{EA46AFB2-6B23-404E-A3F8-DA98DD5EA320}" presName="ChildText" presStyleLbl="revTx" presStyleIdx="1" presStyleCnt="3" custScaleX="345332" custLinFactX="68773" custLinFactNeighborX="100000" custLinFactNeighborY="1528">
        <dgm:presLayoutVars>
          <dgm:chMax val="0"/>
          <dgm:chPref val="0"/>
          <dgm:bulletEnabled val="1"/>
        </dgm:presLayoutVars>
      </dgm:prSet>
      <dgm:spPr/>
    </dgm:pt>
    <dgm:pt modelId="{1886204F-F581-8145-9C20-08F8B08C47EF}" type="pres">
      <dgm:prSet presAssocID="{B38FCDA0-1085-CA4F-8076-D3766E08277F}" presName="sibTrans" presStyleCnt="0"/>
      <dgm:spPr/>
    </dgm:pt>
    <dgm:pt modelId="{45FC35BF-B8E8-9049-BFBD-82CC7BE285D5}" type="pres">
      <dgm:prSet presAssocID="{945B3804-9344-8747-AFD3-719814E64005}" presName="composite" presStyleCnt="0"/>
      <dgm:spPr/>
    </dgm:pt>
    <dgm:pt modelId="{173E8AC8-8AFC-4A4B-988A-871051EFB48C}" type="pres">
      <dgm:prSet presAssocID="{945B3804-9344-8747-AFD3-719814E64005}" presName="bentUpArrow1" presStyleLbl="alignImgPlace1" presStyleIdx="2" presStyleCnt="3" custLinFactNeighborX="-77979" custLinFactNeighborY="4366"/>
      <dgm:spPr/>
    </dgm:pt>
    <dgm:pt modelId="{A5077AD3-698F-C041-8E7E-3ACE06DE3443}" type="pres">
      <dgm:prSet presAssocID="{945B3804-9344-8747-AFD3-719814E64005}" presName="ParentText" presStyleLbl="node1" presStyleIdx="2" presStyleCnt="4" custLinFactNeighborX="-76070" custLinFactNeighborY="247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7595C1-2DF4-FB4F-B419-CC640F25C90D}" type="pres">
      <dgm:prSet presAssocID="{945B3804-9344-8747-AFD3-719814E64005}" presName="ChildText" presStyleLbl="revTx" presStyleIdx="2" presStyleCnt="3" custScaleY="102188" custLinFactY="43628" custLinFactNeighborX="59888" custLinFactNeighborY="100000">
        <dgm:presLayoutVars>
          <dgm:chMax val="0"/>
          <dgm:chPref val="0"/>
          <dgm:bulletEnabled val="1"/>
        </dgm:presLayoutVars>
      </dgm:prSet>
      <dgm:spPr/>
    </dgm:pt>
    <dgm:pt modelId="{FACFB17C-6350-3241-A4DB-F341C0C8D8FF}" type="pres">
      <dgm:prSet presAssocID="{B4AC28DB-BFF0-1740-A008-9CA93C35C9AE}" presName="sibTrans" presStyleCnt="0"/>
      <dgm:spPr/>
    </dgm:pt>
    <dgm:pt modelId="{CA29C68C-6DAE-0242-9598-963DCF56201E}" type="pres">
      <dgm:prSet presAssocID="{EE998AEE-F9AC-1E48-992E-9055AEFC8E41}" presName="composite" presStyleCnt="0"/>
      <dgm:spPr/>
    </dgm:pt>
    <dgm:pt modelId="{E987521F-275A-8948-8314-0E7DC094BEBA}" type="pres">
      <dgm:prSet presAssocID="{EE998AEE-F9AC-1E48-992E-9055AEFC8E41}" presName="ParentText" presStyleLbl="node1" presStyleIdx="3" presStyleCnt="4" custLinFactX="-4596" custLinFactNeighborX="-100000" custLinFactNeighborY="494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D8A6B2-E6CB-7D45-984A-5808043AF100}" type="presOf" srcId="{7C0185FA-A9EC-4E4A-85DA-47FD2E2D0E57}" destId="{2EB69923-FD5F-C84E-A56C-44BF63FDE771}" srcOrd="0" destOrd="0" presId="urn:microsoft.com/office/officeart/2005/8/layout/StepDownProcess"/>
    <dgm:cxn modelId="{B4EC18F8-784D-BD44-B363-5E831AA7A4A1}" srcId="{907C5650-9A09-3649-A68D-46F6E66FBBEB}" destId="{EE998AEE-F9AC-1E48-992E-9055AEFC8E41}" srcOrd="3" destOrd="0" parTransId="{AC86588F-BE13-F94E-B744-46C83551BFBB}" sibTransId="{80DEFF2A-2183-BF41-ADD3-7E71C7FC8D0E}"/>
    <dgm:cxn modelId="{4175D73A-138F-7C42-BA06-44158D3E75D8}" srcId="{907C5650-9A09-3649-A68D-46F6E66FBBEB}" destId="{7C0185FA-A9EC-4E4A-85DA-47FD2E2D0E57}" srcOrd="0" destOrd="0" parTransId="{0F4C293D-6BAA-574C-A60B-E66C45570CE0}" sibTransId="{4CE2C9BF-DDD2-BE4A-BBE1-436C05CEDDA1}"/>
    <dgm:cxn modelId="{EA936121-022B-0A44-8F8D-C99A584920DB}" type="presOf" srcId="{907C5650-9A09-3649-A68D-46F6E66FBBEB}" destId="{2D173169-9929-CF48-BA5D-88148431EC76}" srcOrd="0" destOrd="0" presId="urn:microsoft.com/office/officeart/2005/8/layout/StepDownProcess"/>
    <dgm:cxn modelId="{A0383D04-3EC1-7546-B0C0-BF5954323402}" srcId="{907C5650-9A09-3649-A68D-46F6E66FBBEB}" destId="{945B3804-9344-8747-AFD3-719814E64005}" srcOrd="2" destOrd="0" parTransId="{7F913270-515D-C846-956A-98F888CC215F}" sibTransId="{B4AC28DB-BFF0-1740-A008-9CA93C35C9AE}"/>
    <dgm:cxn modelId="{7E0370E1-A343-3746-8AEE-D317D608CF8A}" srcId="{907C5650-9A09-3649-A68D-46F6E66FBBEB}" destId="{EA46AFB2-6B23-404E-A3F8-DA98DD5EA320}" srcOrd="1" destOrd="0" parTransId="{4C819AED-B26F-F74D-9E79-E65D26B75BE8}" sibTransId="{B38FCDA0-1085-CA4F-8076-D3766E08277F}"/>
    <dgm:cxn modelId="{53488C88-629F-054E-AC3A-ECF071C23287}" type="presOf" srcId="{EA46AFB2-6B23-404E-A3F8-DA98DD5EA320}" destId="{6F3C14F7-DC93-1A42-9892-A48C5C7C9762}" srcOrd="0" destOrd="0" presId="urn:microsoft.com/office/officeart/2005/8/layout/StepDownProcess"/>
    <dgm:cxn modelId="{24AFEEE9-A079-2F4E-9DEB-7791BF5031A5}" type="presOf" srcId="{EE998AEE-F9AC-1E48-992E-9055AEFC8E41}" destId="{E987521F-275A-8948-8314-0E7DC094BEBA}" srcOrd="0" destOrd="0" presId="urn:microsoft.com/office/officeart/2005/8/layout/StepDownProcess"/>
    <dgm:cxn modelId="{43876670-8C81-B846-9AB9-0CCF200DD2AD}" type="presOf" srcId="{945B3804-9344-8747-AFD3-719814E64005}" destId="{A5077AD3-698F-C041-8E7E-3ACE06DE3443}" srcOrd="0" destOrd="0" presId="urn:microsoft.com/office/officeart/2005/8/layout/StepDownProcess"/>
    <dgm:cxn modelId="{753C6245-782A-C046-A14E-A1B6480EF564}" type="presParOf" srcId="{2D173169-9929-CF48-BA5D-88148431EC76}" destId="{4893BB9E-09FF-2F46-922C-A74372D9B21F}" srcOrd="0" destOrd="0" presId="urn:microsoft.com/office/officeart/2005/8/layout/StepDownProcess"/>
    <dgm:cxn modelId="{35127159-E258-8E4E-9ADD-98409901C90E}" type="presParOf" srcId="{4893BB9E-09FF-2F46-922C-A74372D9B21F}" destId="{C4016C8C-9E04-6049-8140-F1BF8C2D26DF}" srcOrd="0" destOrd="0" presId="urn:microsoft.com/office/officeart/2005/8/layout/StepDownProcess"/>
    <dgm:cxn modelId="{AA12BFCE-4386-704B-BC75-79EC73BD37FF}" type="presParOf" srcId="{4893BB9E-09FF-2F46-922C-A74372D9B21F}" destId="{2EB69923-FD5F-C84E-A56C-44BF63FDE771}" srcOrd="1" destOrd="0" presId="urn:microsoft.com/office/officeart/2005/8/layout/StepDownProcess"/>
    <dgm:cxn modelId="{60BB9687-E9FB-D049-8C36-FB0026505F64}" type="presParOf" srcId="{4893BB9E-09FF-2F46-922C-A74372D9B21F}" destId="{D03E399B-C948-AD46-A690-2D403786123B}" srcOrd="2" destOrd="0" presId="urn:microsoft.com/office/officeart/2005/8/layout/StepDownProcess"/>
    <dgm:cxn modelId="{32528D7F-1146-D841-B94A-9B4C8612FEF2}" type="presParOf" srcId="{2D173169-9929-CF48-BA5D-88148431EC76}" destId="{21500F4A-D6C2-C94D-A704-764DE0125BEE}" srcOrd="1" destOrd="0" presId="urn:microsoft.com/office/officeart/2005/8/layout/StepDownProcess"/>
    <dgm:cxn modelId="{8C88840D-6B3A-6845-AED7-DE375B5B6AB7}" type="presParOf" srcId="{2D173169-9929-CF48-BA5D-88148431EC76}" destId="{4C48EDF4-827E-DB46-B547-BCA50AFA9252}" srcOrd="2" destOrd="0" presId="urn:microsoft.com/office/officeart/2005/8/layout/StepDownProcess"/>
    <dgm:cxn modelId="{A18238F1-00A2-A741-BCA2-72FA20C70085}" type="presParOf" srcId="{4C48EDF4-827E-DB46-B547-BCA50AFA9252}" destId="{1225251C-DB1D-8946-9BD1-E9E21E1FEC69}" srcOrd="0" destOrd="0" presId="urn:microsoft.com/office/officeart/2005/8/layout/StepDownProcess"/>
    <dgm:cxn modelId="{A06299A5-192B-A140-8635-BDC1AB464F36}" type="presParOf" srcId="{4C48EDF4-827E-DB46-B547-BCA50AFA9252}" destId="{6F3C14F7-DC93-1A42-9892-A48C5C7C9762}" srcOrd="1" destOrd="0" presId="urn:microsoft.com/office/officeart/2005/8/layout/StepDownProcess"/>
    <dgm:cxn modelId="{38596CCB-9433-0E4E-B076-CEACB89FF254}" type="presParOf" srcId="{4C48EDF4-827E-DB46-B547-BCA50AFA9252}" destId="{2C7D64CA-6C85-5745-8499-5F5F854C2482}" srcOrd="2" destOrd="0" presId="urn:microsoft.com/office/officeart/2005/8/layout/StepDownProcess"/>
    <dgm:cxn modelId="{1B2BB8A2-BC72-4446-8813-0FB717D1517A}" type="presParOf" srcId="{2D173169-9929-CF48-BA5D-88148431EC76}" destId="{1886204F-F581-8145-9C20-08F8B08C47EF}" srcOrd="3" destOrd="0" presId="urn:microsoft.com/office/officeart/2005/8/layout/StepDownProcess"/>
    <dgm:cxn modelId="{F1EDE184-1B10-1242-B706-5ABD714B8484}" type="presParOf" srcId="{2D173169-9929-CF48-BA5D-88148431EC76}" destId="{45FC35BF-B8E8-9049-BFBD-82CC7BE285D5}" srcOrd="4" destOrd="0" presId="urn:microsoft.com/office/officeart/2005/8/layout/StepDownProcess"/>
    <dgm:cxn modelId="{9784B8EA-E68B-2B4E-8BE0-B9F6F84C3988}" type="presParOf" srcId="{45FC35BF-B8E8-9049-BFBD-82CC7BE285D5}" destId="{173E8AC8-8AFC-4A4B-988A-871051EFB48C}" srcOrd="0" destOrd="0" presId="urn:microsoft.com/office/officeart/2005/8/layout/StepDownProcess"/>
    <dgm:cxn modelId="{24184F2E-B8A6-0A4D-B1EF-847E1DD10471}" type="presParOf" srcId="{45FC35BF-B8E8-9049-BFBD-82CC7BE285D5}" destId="{A5077AD3-698F-C041-8E7E-3ACE06DE3443}" srcOrd="1" destOrd="0" presId="urn:microsoft.com/office/officeart/2005/8/layout/StepDownProcess"/>
    <dgm:cxn modelId="{C1ADE6D8-0382-A044-89E0-DA0F2B4AB6FA}" type="presParOf" srcId="{45FC35BF-B8E8-9049-BFBD-82CC7BE285D5}" destId="{DC7595C1-2DF4-FB4F-B419-CC640F25C90D}" srcOrd="2" destOrd="0" presId="urn:microsoft.com/office/officeart/2005/8/layout/StepDownProcess"/>
    <dgm:cxn modelId="{9EA95782-4549-1249-9255-879EDBD866CD}" type="presParOf" srcId="{2D173169-9929-CF48-BA5D-88148431EC76}" destId="{FACFB17C-6350-3241-A4DB-F341C0C8D8FF}" srcOrd="5" destOrd="0" presId="urn:microsoft.com/office/officeart/2005/8/layout/StepDownProcess"/>
    <dgm:cxn modelId="{73B8E06D-8F01-364F-81F2-3F05EC99CFDB}" type="presParOf" srcId="{2D173169-9929-CF48-BA5D-88148431EC76}" destId="{CA29C68C-6DAE-0242-9598-963DCF56201E}" srcOrd="6" destOrd="0" presId="urn:microsoft.com/office/officeart/2005/8/layout/StepDownProcess"/>
    <dgm:cxn modelId="{2B2A99CC-4D53-574C-83D6-F020FE03BE9C}" type="presParOf" srcId="{CA29C68C-6DAE-0242-9598-963DCF56201E}" destId="{E987521F-275A-8948-8314-0E7DC094BEBA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016C8C-9E04-6049-8140-F1BF8C2D26DF}">
      <dsp:nvSpPr>
        <dsp:cNvPr id="0" name=""/>
        <dsp:cNvSpPr/>
      </dsp:nvSpPr>
      <dsp:spPr>
        <a:xfrm rot="5400000">
          <a:off x="1042986" y="1059998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B69923-FD5F-C84E-A56C-44BF63FDE771}">
      <dsp:nvSpPr>
        <dsp:cNvPr id="0" name=""/>
        <dsp:cNvSpPr/>
      </dsp:nvSpPr>
      <dsp:spPr>
        <a:xfrm>
          <a:off x="552409" y="0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Raw Data</a:t>
          </a:r>
        </a:p>
      </dsp:txBody>
      <dsp:txXfrm>
        <a:off x="605977" y="53568"/>
        <a:ext cx="1460292" cy="990012"/>
      </dsp:txXfrm>
    </dsp:sp>
    <dsp:sp modelId="{D03E399B-C948-AD46-A690-2D403786123B}">
      <dsp:nvSpPr>
        <dsp:cNvPr id="0" name=""/>
        <dsp:cNvSpPr/>
      </dsp:nvSpPr>
      <dsp:spPr>
        <a:xfrm>
          <a:off x="2929555" y="230612"/>
          <a:ext cx="4208643" cy="7447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25251C-DB1D-8946-9BD1-E9E21E1FEC69}">
      <dsp:nvSpPr>
        <dsp:cNvPr id="0" name=""/>
        <dsp:cNvSpPr/>
      </dsp:nvSpPr>
      <dsp:spPr>
        <a:xfrm rot="5400000">
          <a:off x="2686095" y="2319993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3C14F7-DC93-1A42-9892-A48C5C7C9762}">
      <dsp:nvSpPr>
        <dsp:cNvPr id="0" name=""/>
        <dsp:cNvSpPr/>
      </dsp:nvSpPr>
      <dsp:spPr>
        <a:xfrm>
          <a:off x="2032921" y="1260313"/>
          <a:ext cx="1567428" cy="1098026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Staging Area</a:t>
          </a:r>
        </a:p>
      </dsp:txBody>
      <dsp:txXfrm>
        <a:off x="2086532" y="1313924"/>
        <a:ext cx="1460206" cy="990804"/>
      </dsp:txXfrm>
    </dsp:sp>
    <dsp:sp modelId="{2C7D64CA-6C85-5745-8499-5F5F854C2482}">
      <dsp:nvSpPr>
        <dsp:cNvPr id="0" name=""/>
        <dsp:cNvSpPr/>
      </dsp:nvSpPr>
      <dsp:spPr>
        <a:xfrm>
          <a:off x="4925387" y="1378940"/>
          <a:ext cx="3936777" cy="886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3E8AC8-8AFC-4A4B-988A-871051EFB48C}">
      <dsp:nvSpPr>
        <dsp:cNvPr id="0" name=""/>
        <dsp:cNvSpPr/>
      </dsp:nvSpPr>
      <dsp:spPr>
        <a:xfrm rot="5400000">
          <a:off x="4288467" y="3566009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077AD3-698F-C041-8E7E-3ACE06DE3443}">
      <dsp:nvSpPr>
        <dsp:cNvPr id="0" name=""/>
        <dsp:cNvSpPr/>
      </dsp:nvSpPr>
      <dsp:spPr>
        <a:xfrm>
          <a:off x="3676037" y="2520312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DWH</a:t>
          </a:r>
        </a:p>
      </dsp:txBody>
      <dsp:txXfrm>
        <a:off x="3729605" y="2573880"/>
        <a:ext cx="1460292" cy="990012"/>
      </dsp:txXfrm>
    </dsp:sp>
    <dsp:sp modelId="{DC7595C1-2DF4-FB4F-B419-CC640F25C90D}">
      <dsp:nvSpPr>
        <dsp:cNvPr id="0" name=""/>
        <dsp:cNvSpPr/>
      </dsp:nvSpPr>
      <dsp:spPr>
        <a:xfrm>
          <a:off x="7118530" y="3861790"/>
          <a:ext cx="1139997" cy="9061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87521F-275A-8948-8314-0E7DC094BEBA}">
      <dsp:nvSpPr>
        <dsp:cNvPr id="0" name=""/>
        <dsp:cNvSpPr/>
      </dsp:nvSpPr>
      <dsp:spPr>
        <a:xfrm>
          <a:off x="5264952" y="3753526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Reporting</a:t>
          </a:r>
          <a:endParaRPr lang="en-US" sz="2100" b="1" kern="1200" dirty="0"/>
        </a:p>
      </dsp:txBody>
      <dsp:txXfrm>
        <a:off x="5318520" y="3807094"/>
        <a:ext cx="1460292" cy="9900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xmlns="" id="{EA56D503-80D1-4AC7-A49B-BEC0B1AA8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8EB1ECA6-73DF-4EBB-A920-A672D7F2B1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xmlns="" id="{8276DC8F-5F19-426F-BA94-D1FACEE204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74638"/>
            <a:ext cx="10799999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DCEE5E7D-E7BC-4AF6-B72A-9905F8EB3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882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–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973D507-80BD-4317-93B7-89A9325B4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973D507-80BD-4317-93B7-89A9325B4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23C31CB-16A4-4D58-934C-21143F7EDF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9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xmlns="" id="{6AC47801-77FF-4DF0-A7B5-7B1D084DA0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513597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1 style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5F2EA4E5-B686-47F3-937E-1F077AEA9D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7599" y="949210"/>
            <a:ext cx="5159076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2 style</a:t>
            </a:r>
            <a:endParaRPr lang="nl-NL"/>
          </a:p>
        </p:txBody>
      </p:sp>
      <p:sp>
        <p:nvSpPr>
          <p:cNvPr id="19" name="Tijdelijke aanduiding voor verticale tekst 2">
            <a:extLst>
              <a:ext uri="{FF2B5EF4-FFF2-40B4-BE49-F238E27FC236}">
                <a16:creationId xmlns:a16="http://schemas.microsoft.com/office/drawing/2014/main" xmlns="" id="{23809F10-0331-48BE-9C4B-33029A84E9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xmlns="" id="{75E4C565-6BA5-456E-AB5C-09306C659AF2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>
          <a:xfrm>
            <a:off x="6360705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xmlns="" id="{12A24DC3-D2B1-47DC-BF57-7C806D1B0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3007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INGL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xmlns="" id="{AC6AA031-27F1-47F8-BB08-9B10EAB5E4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108000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xmlns="" id="{1637882E-8BD0-4359-A658-B79548318C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376363"/>
            <a:ext cx="10799999" cy="4537075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2D1D8C6B-EDA7-4181-9996-93F142DAD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615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sp>
        <p:nvSpPr>
          <p:cNvPr id="19" name="Titel 5">
            <a:extLst>
              <a:ext uri="{FF2B5EF4-FFF2-40B4-BE49-F238E27FC236}">
                <a16:creationId xmlns:a16="http://schemas.microsoft.com/office/drawing/2014/main" xmlns="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20" name="Tijdelijke aanduiding voor tekst 13">
            <a:extLst>
              <a:ext uri="{FF2B5EF4-FFF2-40B4-BE49-F238E27FC236}">
                <a16:creationId xmlns:a16="http://schemas.microsoft.com/office/drawing/2014/main" xmlns="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  <p:pic>
        <p:nvPicPr>
          <p:cNvPr id="21" name="Picture 12">
            <a:extLst>
              <a:ext uri="{FF2B5EF4-FFF2-40B4-BE49-F238E27FC236}">
                <a16:creationId xmlns:a16="http://schemas.microsoft.com/office/drawing/2014/main" xmlns="" id="{2ADC06D3-FB1A-4AA6-8AD3-BF07FA5D86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018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546695"/>
          </a:xfrm>
          <a:prstGeom prst="rect">
            <a:avLst/>
          </a:prstGeom>
        </p:spPr>
      </p:pic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xmlns="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pic>
        <p:nvPicPr>
          <p:cNvPr id="59" name="Picture 12">
            <a:extLst>
              <a:ext uri="{FF2B5EF4-FFF2-40B4-BE49-F238E27FC236}">
                <a16:creationId xmlns:a16="http://schemas.microsoft.com/office/drawing/2014/main" xmlns="" id="{62B80BC6-573C-4D80-B198-85ACA22268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58" name="Titel 5">
            <a:extLst>
              <a:ext uri="{FF2B5EF4-FFF2-40B4-BE49-F238E27FC236}">
                <a16:creationId xmlns:a16="http://schemas.microsoft.com/office/drawing/2014/main" xmlns="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xmlns="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3055840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1" name="Picture 12">
            <a:extLst>
              <a:ext uri="{FF2B5EF4-FFF2-40B4-BE49-F238E27FC236}">
                <a16:creationId xmlns:a16="http://schemas.microsoft.com/office/drawing/2014/main" xmlns="" id="{806F4757-518C-4073-827C-AA71CBBE7D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17" name="Tijdelijke aanduiding voor afbeelding 8">
            <a:extLst>
              <a:ext uri="{FF2B5EF4-FFF2-40B4-BE49-F238E27FC236}">
                <a16:creationId xmlns:a16="http://schemas.microsoft.com/office/drawing/2014/main" xmlns="" id="{116416CB-EBA7-40C8-BE47-2348D375A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:a16="http://schemas.microsoft.com/office/drawing/2014/main" xmlns="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xmlns="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2689583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xmlns="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3" name="Picture 7">
            <a:extLst>
              <a:ext uri="{FF2B5EF4-FFF2-40B4-BE49-F238E27FC236}">
                <a16:creationId xmlns:a16="http://schemas.microsoft.com/office/drawing/2014/main" xmlns="" id="{CB3445F2-35F5-4AAC-837E-52ADB47DAB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6" y="1135033"/>
            <a:ext cx="987611" cy="987611"/>
          </a:xfrm>
          <a:prstGeom prst="rect">
            <a:avLst/>
          </a:prstGeom>
        </p:spPr>
      </p:pic>
      <p:sp>
        <p:nvSpPr>
          <p:cNvPr id="16" name="Tijdelijke aanduiding voor afbeelding 8">
            <a:extLst>
              <a:ext uri="{FF2B5EF4-FFF2-40B4-BE49-F238E27FC236}">
                <a16:creationId xmlns:a16="http://schemas.microsoft.com/office/drawing/2014/main" xmlns="" id="{16AB1C94-D32E-491C-A27D-F3DE236E3A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:a16="http://schemas.microsoft.com/office/drawing/2014/main" xmlns="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xmlns="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39206797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xmlns="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xmlns="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xmlns="" id="{37D7AE1C-668E-4833-B70A-727FF1D066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xmlns="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  <p:pic>
        <p:nvPicPr>
          <p:cNvPr id="86" name="Picture 17">
            <a:extLst>
              <a:ext uri="{FF2B5EF4-FFF2-40B4-BE49-F238E27FC236}">
                <a16:creationId xmlns:a16="http://schemas.microsoft.com/office/drawing/2014/main" xmlns="" id="{E808A474-A497-4C5E-AD1E-A317DC220B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5017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xmlns="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xmlns="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89" name="Picture 17">
            <a:extLst>
              <a:ext uri="{FF2B5EF4-FFF2-40B4-BE49-F238E27FC236}">
                <a16:creationId xmlns:a16="http://schemas.microsoft.com/office/drawing/2014/main" xmlns="" id="{AC7CAF1D-9A40-4D8B-92F2-285B5DB92A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xmlns="" id="{74C9D7A0-9384-4ED6-9083-9CDA8FE4ED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xmlns="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5768890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xmlns="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xmlns="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86" name="Picture 17">
            <a:extLst>
              <a:ext uri="{FF2B5EF4-FFF2-40B4-BE49-F238E27FC236}">
                <a16:creationId xmlns:a16="http://schemas.microsoft.com/office/drawing/2014/main" xmlns="" id="{7C062C76-EDB5-4F15-8EA9-AAE3657D1D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xmlns="" id="{DC7BAFE8-8F26-4403-9E07-291D0BFD03F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xmlns="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21775775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xmlns="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xmlns="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pic>
        <p:nvPicPr>
          <p:cNvPr id="87" name="Picture 17">
            <a:extLst>
              <a:ext uri="{FF2B5EF4-FFF2-40B4-BE49-F238E27FC236}">
                <a16:creationId xmlns:a16="http://schemas.microsoft.com/office/drawing/2014/main" xmlns="" id="{06B98FAA-2D90-433C-9726-BF23671D2C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xmlns="" id="{333BACCA-0927-4FAE-9D64-2C581BD01C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xmlns="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3183417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F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04956B8-683C-49AE-B943-AE17BC5B40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xmlns="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xmlns="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xmlns="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xmlns="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xmlns="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xmlns="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xmlns="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xmlns="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xmlns="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xmlns="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xmlns="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xmlns="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xmlns="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xmlns="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xmlns="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xmlns="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xmlns="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xmlns="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xmlns="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xmlns="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xmlns="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xmlns="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xmlns="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xmlns="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8" name="Tijdelijke aanduiding voor afbeelding 8">
            <a:extLst>
              <a:ext uri="{FF2B5EF4-FFF2-40B4-BE49-F238E27FC236}">
                <a16:creationId xmlns:a16="http://schemas.microsoft.com/office/drawing/2014/main" xmlns="" id="{8F221454-F774-4671-9AF9-619946064D4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36030" y="1464404"/>
            <a:ext cx="5135970" cy="4449034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8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88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41" name="Tijdelijke aanduiding voor verticale tekst 2">
            <a:extLst>
              <a:ext uri="{FF2B5EF4-FFF2-40B4-BE49-F238E27FC236}">
                <a16:creationId xmlns:a16="http://schemas.microsoft.com/office/drawing/2014/main" xmlns="" id="{02CCC3D6-3CC2-41A9-9EE3-48B4BC1D8D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xmlns="" id="{57741E08-2EB3-410E-BCC4-A68C045B75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20C7E9AF-3BB1-4E08-9038-BD4F4B622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96555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E8F7B0EC-A631-4DF9-B83E-A8A75A82E6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E8F7B0EC-A631-4DF9-B83E-A8A75A82E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7D75470-6C2F-432C-AD1A-F9E2E8B29D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xmlns="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9" name="Tijdelijke aanduiding voor grafiek 12">
            <a:extLst>
              <a:ext uri="{FF2B5EF4-FFF2-40B4-BE49-F238E27FC236}">
                <a16:creationId xmlns:a16="http://schemas.microsoft.com/office/drawing/2014/main" xmlns="" id="{5685BF9B-62F5-48C6-8576-6CBC7BFE4FF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55860" y="1474638"/>
            <a:ext cx="513597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:a16="http://schemas.microsoft.com/office/drawing/2014/main" xmlns="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xmlns="" id="{4459254B-A8B5-413A-8F32-195FDC71E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xmlns="" id="{00A832A4-1AFA-4667-BF72-F297CCBCB0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478647B3-5A42-4EE9-9E97-116D3059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2624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0%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D4F47F9-34E4-4E1A-B142-596ABCFED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D4F47F9-34E4-4E1A-B142-596ABCFED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89CB9FC-3516-43E7-AC4B-585BAB383F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xmlns="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:a16="http://schemas.microsoft.com/office/drawing/2014/main" xmlns="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08" name="Tijdelijke aanduiding voor grafiek 12">
            <a:extLst>
              <a:ext uri="{FF2B5EF4-FFF2-40B4-BE49-F238E27FC236}">
                <a16:creationId xmlns:a16="http://schemas.microsoft.com/office/drawing/2014/main" xmlns="" id="{13A571CF-54B8-4561-AD00-2E5818DE9ED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500" y="1473928"/>
            <a:ext cx="1080000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0BF2356B-4E52-4A23-82FC-A1D54A5968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F141B47-F62F-4223-B4B1-ED05AABE8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0710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RIJ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BB9DD5B-8F45-4E67-9233-B72927EAD8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xmlns="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xmlns="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xmlns="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xmlns="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xmlns="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xmlns="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xmlns="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xmlns="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xmlns="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xmlns="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xmlns="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xmlns="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xmlns="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xmlns="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xmlns="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xmlns="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xmlns="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xmlns="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xmlns="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xmlns="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xmlns="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xmlns="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xmlns="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xmlns="" id="{49206924-63C7-439B-893E-2E5FD11B707B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bg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:a16="http://schemas.microsoft.com/office/drawing/2014/main" xmlns="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xmlns="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2" name="Tijdelijke aanduiding voor verticale tekst 2">
            <a:extLst>
              <a:ext uri="{FF2B5EF4-FFF2-40B4-BE49-F238E27FC236}">
                <a16:creationId xmlns:a16="http://schemas.microsoft.com/office/drawing/2014/main" xmlns="" id="{ED25C50A-F42A-40DA-BDF0-A567612DBF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xmlns="" id="{87822D74-F32C-4568-85FB-2C7F5AFAAC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xmlns="" id="{74B2107D-8F02-440D-85F2-4F338FF22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14835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xmlns="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xmlns="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:a16="http://schemas.microsoft.com/office/drawing/2014/main" xmlns="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xmlns="" id="{61A0EA42-27DC-4031-A126-75343F97BA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15F8978B-78E4-4C09-9443-5519F1D844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205E8325-F8D2-4EFE-BBDF-624B987CF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07203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KST + INFO SLIDE (RO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xmlns="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xmlns="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:a16="http://schemas.microsoft.com/office/drawing/2014/main" xmlns="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xmlns="" id="{BCE838F5-5269-49ED-ADB9-B3EFC9B81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xmlns="" id="{AEC58F36-D463-46EA-9CB3-57A9E3E1F0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94242D3D-AF58-4DBC-91BF-1787BDCCD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78775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+ INFO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2B190B2-308C-4C6B-81D4-0416B0500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xmlns="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xmlns="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xmlns="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xmlns="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xmlns="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xmlns="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xmlns="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xmlns="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xmlns="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xmlns="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xmlns="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xmlns="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xmlns="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xmlns="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xmlns="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xmlns="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xmlns="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xmlns="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xmlns="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xmlns="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xmlns="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xmlns="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xmlns="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xmlns="" id="{49206924-63C7-439B-893E-2E5FD11B707B}"/>
              </a:ext>
            </a:extLst>
          </p:cNvPr>
          <p:cNvSpPr/>
          <p:nvPr/>
        </p:nvSpPr>
        <p:spPr>
          <a:xfrm>
            <a:off x="7648356" y="1469951"/>
            <a:ext cx="3855193" cy="4438800"/>
          </a:xfrm>
          <a:prstGeom prst="roundRect">
            <a:avLst>
              <a:gd name="adj" fmla="val 20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:a16="http://schemas.microsoft.com/office/drawing/2014/main" xmlns="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xmlns="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3" name="Tijdelijke aanduiding voor grafiek 12">
            <a:extLst>
              <a:ext uri="{FF2B5EF4-FFF2-40B4-BE49-F238E27FC236}">
                <a16:creationId xmlns:a16="http://schemas.microsoft.com/office/drawing/2014/main" xmlns="" id="{BB9DE0E2-58A3-473F-8A22-62189674A1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241" y="1469951"/>
            <a:ext cx="6616959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xmlns="" id="{62DD76D0-C0F2-48C6-93FC-B389F75F1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xmlns="" id="{8D49EC70-9316-4312-8191-3EAA7336E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347294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E72FC09-B19D-4987-9DEB-DF43291BA0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xmlns="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rgbClr val="2DA4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:a16="http://schemas.microsoft.com/office/drawing/2014/main" xmlns="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xmlns="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xmlns="" id="{7F746EC4-8E60-4587-84EE-341D28A66AA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xmlns="" id="{008A424E-4058-487D-BA60-2829146CF1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62A48196-FA4A-42EA-B13D-FE332DC43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15287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EL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13C6ECE0-EA6A-4C59-BCA6-D23468C6A5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xmlns="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:a16="http://schemas.microsoft.com/office/drawing/2014/main" xmlns="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xmlns="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0" name="Picture 10">
            <a:extLst>
              <a:ext uri="{FF2B5EF4-FFF2-40B4-BE49-F238E27FC236}">
                <a16:creationId xmlns:a16="http://schemas.microsoft.com/office/drawing/2014/main" xmlns="" id="{A5720880-F413-4FBC-9D10-8C89F4FC02E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xmlns="" id="{643E6399-10A6-4BBE-AB30-0A39672468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FC2EC18-1E37-464F-9370-B0F9135BA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68749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#2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6A6B907-2844-477B-B0F6-CE91006D92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6A6B907-2844-477B-B0F6-CE91006D9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2BF0DAF-60D2-4E00-9D7D-19BEC7E09B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7" name="Ovaal 106">
            <a:extLst>
              <a:ext uri="{FF2B5EF4-FFF2-40B4-BE49-F238E27FC236}">
                <a16:creationId xmlns:a16="http://schemas.microsoft.com/office/drawing/2014/main" xmlns="" id="{373626ED-5C29-4711-8E42-3F8432F0CEFD}"/>
              </a:ext>
            </a:extLst>
          </p:cNvPr>
          <p:cNvSpPr/>
          <p:nvPr/>
        </p:nvSpPr>
        <p:spPr>
          <a:xfrm>
            <a:off x="7824192" y="1630432"/>
            <a:ext cx="3707037" cy="37070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1" name="Tijdelijke aanduiding voor tekst 13">
            <a:extLst>
              <a:ext uri="{FF2B5EF4-FFF2-40B4-BE49-F238E27FC236}">
                <a16:creationId xmlns:a16="http://schemas.microsoft.com/office/drawing/2014/main" xmlns="" id="{273D64F0-578E-4A43-A1D7-BB30597F34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7412" y="2849976"/>
            <a:ext cx="3000877" cy="1250090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112" name="Tijdelijke aanduiding voor tabel 8">
            <a:extLst>
              <a:ext uri="{FF2B5EF4-FFF2-40B4-BE49-F238E27FC236}">
                <a16:creationId xmlns:a16="http://schemas.microsoft.com/office/drawing/2014/main" xmlns="" id="{F92D02E3-3F87-4550-9BBA-BA5F4CBCE7AF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1200" y="1469990"/>
            <a:ext cx="6620424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pic>
        <p:nvPicPr>
          <p:cNvPr id="114" name="Picture 30">
            <a:extLst>
              <a:ext uri="{FF2B5EF4-FFF2-40B4-BE49-F238E27FC236}">
                <a16:creationId xmlns:a16="http://schemas.microsoft.com/office/drawing/2014/main" xmlns="" id="{435A6C5E-99F0-4722-A349-21A058831E4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2434" y="1765210"/>
            <a:ext cx="820532" cy="820532"/>
          </a:xfrm>
          <a:prstGeom prst="rect">
            <a:avLst/>
          </a:prstGeom>
        </p:spPr>
      </p:pic>
      <p:sp>
        <p:nvSpPr>
          <p:cNvPr id="12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B5A6B3C0-0DC0-44B3-A0CC-F3D0D53250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4371381D-3652-4CCB-84FD-EB89354DE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93588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xmlns="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xmlns="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xmlns="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xmlns="" id="{09B21A57-EAC1-478B-A7C4-1BC7EA7F6A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2554446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xmlns="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xmlns="" id="{877905F9-4CCB-48C2-9FB3-9D0B2C81F2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xmlns="" id="{D5848E48-1D76-4892-9652-12FAF2F234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xmlns="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369685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xmlns="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29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xmlns="" id="{0ACA17D8-971C-4CDE-AC38-A78A01F245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xmlns="" id="{B6A49145-E83E-4B8D-BDA0-4A69D8E3A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xmlns="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7645018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xmlns="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xmlns="" id="{733AED8E-BA39-4FB6-A8A2-E2CC82B973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xmlns="" id="{AF2ED82E-0474-4E9D-AB24-A1212E27D1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xmlns="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7984268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xmlns="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6" name="Tijdelijke aanduiding voor tekst 13">
            <a:extLst>
              <a:ext uri="{FF2B5EF4-FFF2-40B4-BE49-F238E27FC236}">
                <a16:creationId xmlns:a16="http://schemas.microsoft.com/office/drawing/2014/main" xmlns="" id="{195DE720-32C9-4CFD-AE8E-8CCF7889C2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6572" y="1470321"/>
            <a:ext cx="5952401" cy="538767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243" r="1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28800" y="3017026"/>
            <a:ext cx="3493008" cy="490387"/>
          </a:xfrm>
          <a:prstGeom prst="rect">
            <a:avLst/>
          </a:prstGeom>
        </p:spPr>
        <p:txBody>
          <a:bodyPr anchor="b"/>
          <a:lstStyle>
            <a:lvl1pPr algn="l">
              <a:defRPr sz="2400"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xmlns="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3708044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</a:defRPr>
            </a:lvl1pPr>
            <a:lvl2pPr marL="723900" indent="-279400">
              <a:buSzPct val="130000"/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:a16="http://schemas.microsoft.com/office/drawing/2014/main" xmlns="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:a16="http://schemas.microsoft.com/office/drawing/2014/main" xmlns="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34670" y="1118612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tel 5">
            <a:extLst>
              <a:ext uri="{FF2B5EF4-FFF2-40B4-BE49-F238E27FC236}">
                <a16:creationId xmlns:a16="http://schemas.microsoft.com/office/drawing/2014/main" xmlns="" id="{9B265A4B-6BD7-4DB1-A51C-DB34429087AA}"/>
              </a:ext>
            </a:extLst>
          </p:cNvPr>
          <p:cNvSpPr txBox="1">
            <a:spLocks/>
          </p:cNvSpPr>
          <p:nvPr/>
        </p:nvSpPr>
        <p:spPr>
          <a:xfrm>
            <a:off x="8000492" y="2326008"/>
            <a:ext cx="3493008" cy="4903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err="1">
                <a:solidFill>
                  <a:schemeClr val="bg1"/>
                </a:solidFill>
              </a:rPr>
              <a:t>Title</a:t>
            </a:r>
            <a:endParaRPr lang="nl-NL">
              <a:solidFill>
                <a:schemeClr val="bg1"/>
              </a:solidFill>
            </a:endParaRP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:a16="http://schemas.microsoft.com/office/drawing/2014/main" xmlns="" id="{CBA54B9D-96C5-4739-8FEA-D49FD5340F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0492" y="3017026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3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723900" indent="-279400">
              <a:buClr>
                <a:schemeClr val="bg1"/>
              </a:buClr>
              <a:buSzPct val="13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103" name="Tijdelijke aanduiding voor tekst 13">
            <a:extLst>
              <a:ext uri="{FF2B5EF4-FFF2-40B4-BE49-F238E27FC236}">
                <a16:creationId xmlns:a16="http://schemas.microsoft.com/office/drawing/2014/main" xmlns="" id="{481F00D0-9193-4352-9210-C36CC7482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2556" y="1794388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04" name="Tijdelijke aanduiding voor tekst 13">
            <a:extLst>
              <a:ext uri="{FF2B5EF4-FFF2-40B4-BE49-F238E27FC236}">
                <a16:creationId xmlns:a16="http://schemas.microsoft.com/office/drawing/2014/main" xmlns="" id="{A0DCC1D8-6CD9-438A-8279-FC390BB04A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005539" y="1241340"/>
            <a:ext cx="914146" cy="952738"/>
          </a:xfrm>
          <a:prstGeom prst="rect">
            <a:avLst/>
          </a:prstGeom>
          <a:blipFill>
            <a:blip r:embed="rId5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87646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xmlns="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:a16="http://schemas.microsoft.com/office/drawing/2014/main" xmlns="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5034" y="2115389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:a16="http://schemas.microsoft.com/office/drawing/2014/main" xmlns="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4" name="Tijdelijke aanduiding voor tekst 13">
            <a:extLst>
              <a:ext uri="{FF2B5EF4-FFF2-40B4-BE49-F238E27FC236}">
                <a16:creationId xmlns:a16="http://schemas.microsoft.com/office/drawing/2014/main" xmlns="" id="{E5964C3D-39FB-486E-B1CA-327355345B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1895" y="0"/>
            <a:ext cx="6094851" cy="565769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496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jdelijke aanduiding voor tekst 13">
            <a:extLst>
              <a:ext uri="{FF2B5EF4-FFF2-40B4-BE49-F238E27FC236}">
                <a16:creationId xmlns:a16="http://schemas.microsoft.com/office/drawing/2014/main" xmlns="" id="{5D7AAD86-A20B-4FED-ABB5-690DD462CD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4466" y="3443085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:a16="http://schemas.microsoft.com/office/drawing/2014/main" xmlns="" id="{D2DA99D1-2C1C-4553-8198-85E59B09FF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56443" y="1979139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99" name="Tijdelijke aanduiding voor tekst 13">
            <a:extLst>
              <a:ext uri="{FF2B5EF4-FFF2-40B4-BE49-F238E27FC236}">
                <a16:creationId xmlns:a16="http://schemas.microsoft.com/office/drawing/2014/main" xmlns="" id="{487AAEE7-3E5F-4E8C-9062-3C7FDB0C83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474602" y="2417899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3628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9611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680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theme" Target="../theme/theme2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58" r:id="rId15"/>
    <p:sldLayoutId id="214748365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34" imgW="286" imgH="286" progId="TCLayout.ActiveDocument.1">
                  <p:embed/>
                </p:oleObj>
              </mc:Choice>
              <mc:Fallback>
                <p:oleObj name="think-cell Slide" r:id="rId34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98500" y="6192137"/>
            <a:ext cx="9639300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on’t forget to edit the footnotes. Use this for mentioning sourcing and further clarificationsC</a:t>
            </a: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563318" y="6403079"/>
            <a:ext cx="482292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 b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26" name="Picture 17">
            <a:extLst>
              <a:ext uri="{FF2B5EF4-FFF2-40B4-BE49-F238E27FC236}">
                <a16:creationId xmlns:a16="http://schemas.microsoft.com/office/drawing/2014/main" xmlns="" id="{7E508851-1889-4E58-B1A1-122653D19601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02" y="6192137"/>
            <a:ext cx="1080116" cy="3507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7EEBF1E-B876-4544-8D7E-F3970A085C73}"/>
              </a:ext>
            </a:extLst>
          </p:cNvPr>
          <p:cNvSpPr txBox="1"/>
          <p:nvPr userDrawn="1">
            <p:extLst>
              <p:ext uri="{1162E1C5-73C7-4A58-AE30-91384D911F3F}">
                <p184:classification xmlns="" xmlns:p184="http://schemas.microsoft.com/office/powerpoint/2018/4/main" val="ftr"/>
              </p:ext>
            </p:extLst>
          </p:nvPr>
        </p:nvSpPr>
        <p:spPr>
          <a:xfrm>
            <a:off x="0" y="6705600"/>
            <a:ext cx="722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ab Internal</a:t>
            </a:r>
          </a:p>
        </p:txBody>
      </p:sp>
    </p:spTree>
    <p:extLst>
      <p:ext uri="{BB962C8B-B14F-4D97-AF65-F5344CB8AC3E}">
        <p14:creationId xmlns:p14="http://schemas.microsoft.com/office/powerpoint/2010/main" val="245733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7488" indent="-217488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Segoe UI Light" panose="020B0502040204020203" pitchFamily="34" charset="0"/>
        <a:buChar char="•"/>
        <a:defRPr sz="1000" kern="1200" baseline="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1pPr>
      <a:lvl2pPr marL="622300" indent="-17780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2pPr>
      <a:lvl3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0070C0"/>
        </a:buClr>
        <a:buSzPct val="85000"/>
        <a:buFont typeface="Arial" panose="020B0604020202020204" pitchFamily="34" charset="0"/>
        <a:buNone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3pPr>
      <a:lvl4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 cap="none" spc="30" baseline="0">
          <a:solidFill>
            <a:schemeClr val="tx2"/>
          </a:solidFill>
          <a:latin typeface="+mj-lt"/>
          <a:ea typeface="+mn-ea"/>
          <a:cs typeface="Calibri" panose="020F0502020204030204" pitchFamily="34" charset="0"/>
        </a:defRPr>
      </a:lvl4pPr>
      <a:lvl5pPr marL="271463" indent="-271463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Font typeface="+mj-lt"/>
        <a:buAutoNum type="arabicPeriod"/>
        <a:defRPr sz="100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Arial" panose="020B0604020202020204" pitchFamily="34" charset="0"/>
        <a:buNone/>
        <a:defRPr sz="900" b="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82563" indent="-182563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40000"/>
        <a:buFont typeface="Arial" panose="020B0604020202020204" pitchFamily="34" charset="0"/>
        <a:buChar char="•"/>
        <a:defRPr sz="10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100" b="1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>
          <a:solidFill>
            <a:schemeClr val="accent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6" pos="438">
          <p15:clr>
            <a:srgbClr val="F26B43"/>
          </p15:clr>
        </p15:guide>
        <p15:guide id="7" pos="7242">
          <p15:clr>
            <a:srgbClr val="F26B43"/>
          </p15:clr>
        </p15:guide>
        <p15:guide id="8" orient="horz" pos="3725">
          <p15:clr>
            <a:srgbClr val="F26B43"/>
          </p15:clr>
        </p15:guide>
        <p15:guide id="9" orient="horz" pos="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tree/main/db_scripts" TargetMode="External"/><Relationship Id="rId2" Type="http://schemas.openxmlformats.org/officeDocument/2006/relationships/hyperlink" Target="https://github.com/Kulamanipradhan0/knab_dw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ulamanipradhan0/knab_dwh/tree/main/airflow/dags" TargetMode="External"/><Relationship Id="rId5" Type="http://schemas.openxmlformats.org/officeDocument/2006/relationships/hyperlink" Target="https://github.com/Kulamanipradhan0/knab_dwh/tree/main/src_files/polling" TargetMode="External"/><Relationship Id="rId4" Type="http://schemas.openxmlformats.org/officeDocument/2006/relationships/hyperlink" Target="https://github.com/Kulamanipradhan0/knab_dwh/tree/main/etl_repo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blob/main/etl_repo/staging/staging_data_validation.sql" TargetMode="External"/><Relationship Id="rId7" Type="http://schemas.openxmlformats.org/officeDocument/2006/relationships/hyperlink" Target="https://github.com/Kulamanipradhan0/knab_dwh/blob/main/etl_repo/report/dnb_dgs_report_query.sql" TargetMode="External"/><Relationship Id="rId2" Type="http://schemas.openxmlformats.org/officeDocument/2006/relationships/hyperlink" Target="https://github.com/Kulamanipradhan0/knab_dwh/blob/main/etl_repo/fact/fac_dwh_eod_position.sql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ulamanipradhan0/knab_dwh/blob/main/etl_repo/report/DNB_DGS_Last_Year_Report.py" TargetMode="External"/><Relationship Id="rId5" Type="http://schemas.openxmlformats.org/officeDocument/2006/relationships/hyperlink" Target="https://github.com/Kulamanipradhan0/knab_dwh/blob/main/etl_repo/dimension/dim_customer_type2_load.sql" TargetMode="External"/><Relationship Id="rId4" Type="http://schemas.openxmlformats.org/officeDocument/2006/relationships/hyperlink" Target="https://github.com/Kulamanipradhan0/knab_dwh/tree/main/log_files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2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26.jpg"/><Relationship Id="rId5" Type="http://schemas.openxmlformats.org/officeDocument/2006/relationships/diagramColors" Target="../diagrams/colors1.xml"/><Relationship Id="rId10" Type="http://schemas.openxmlformats.org/officeDocument/2006/relationships/image" Target="../media/image25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blob/main/etl_repo/staging/stg_load.py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04E5062-3C9D-6447-BD77-9B2B0AEB1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1992" y="2794000"/>
            <a:ext cx="10149840" cy="1698901"/>
          </a:xfrm>
        </p:spPr>
        <p:txBody>
          <a:bodyPr>
            <a:normAutofit/>
          </a:bodyPr>
          <a:lstStyle/>
          <a:p>
            <a:r>
              <a:rPr lang="en-US" sz="4800" dirty="0" smtClean="0"/>
              <a:t> Financial </a:t>
            </a:r>
            <a:r>
              <a:rPr lang="en-US" sz="4800" dirty="0"/>
              <a:t>Data Warehou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5F58DE3-ECD9-2F4B-9F91-33ED33AE6C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													- A case study</a:t>
            </a:r>
          </a:p>
          <a:p>
            <a:endParaRPr lang="en-US" dirty="0"/>
          </a:p>
          <a:p>
            <a:r>
              <a:rPr lang="en-US" dirty="0"/>
              <a:t>													By : Kulamani Pradha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452" y="2394065"/>
            <a:ext cx="2240430" cy="120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7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Dimensional Mod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9782" y="1219198"/>
            <a:ext cx="9545636" cy="5611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75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Control Model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4" y="1218721"/>
            <a:ext cx="10723418" cy="563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556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 Repor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99" y="3694727"/>
            <a:ext cx="11269652" cy="287232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046710" y="1339892"/>
            <a:ext cx="1002197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CRM- </a:t>
            </a:r>
            <a:r>
              <a:rPr lang="en-US" b="1" dirty="0" smtClean="0">
                <a:solidFill>
                  <a:srgbClr val="FF0000"/>
                </a:solidFill>
              </a:rPr>
              <a:t>B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0799" y="1339675"/>
            <a:ext cx="1035861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CRM- 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474842" y="5818909"/>
            <a:ext cx="2920783" cy="748143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3441958" y="4100945"/>
            <a:ext cx="2920783" cy="1029944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760799" y="3325395"/>
            <a:ext cx="803425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ACNT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19464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799" y="1805322"/>
            <a:ext cx="5806256" cy="1432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6710" y="1893261"/>
            <a:ext cx="4983741" cy="1432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981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 Report</a:t>
            </a:r>
            <a:endParaRPr lang="en-US" dirty="0"/>
          </a:p>
        </p:txBody>
      </p:sp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16" y="1353312"/>
            <a:ext cx="11363757" cy="5204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079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Job Process Mod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3312"/>
            <a:ext cx="12192000" cy="5504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36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481905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ontainerization :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709949" y="1783074"/>
            <a:ext cx="7257011" cy="399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4114110" y="2917767"/>
            <a:ext cx="1604356" cy="2044931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352" y="3470991"/>
            <a:ext cx="1313871" cy="938479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6878757" y="2917760"/>
            <a:ext cx="1604356" cy="2044931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501" y="3529176"/>
            <a:ext cx="1288868" cy="49790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478062" y="5168727"/>
            <a:ext cx="220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Docker Host</a:t>
            </a:r>
            <a:endParaRPr lang="en-GB" dirty="0"/>
          </a:p>
        </p:txBody>
      </p:sp>
      <p:sp>
        <p:nvSpPr>
          <p:cNvPr id="20" name="Curved Down Arrow 19"/>
          <p:cNvSpPr/>
          <p:nvPr/>
        </p:nvSpPr>
        <p:spPr>
          <a:xfrm>
            <a:off x="4812378" y="2056167"/>
            <a:ext cx="2768139" cy="728597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Right Arrow 22"/>
          <p:cNvSpPr/>
          <p:nvPr/>
        </p:nvSpPr>
        <p:spPr>
          <a:xfrm rot="5400000">
            <a:off x="5829799" y="1417351"/>
            <a:ext cx="636425" cy="2098404"/>
          </a:xfrm>
          <a:prstGeom prst="curvedRightArrow">
            <a:avLst>
              <a:gd name="adj1" fmla="val 21875"/>
              <a:gd name="adj2" fmla="val 5000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95790" y="5178687"/>
            <a:ext cx="863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9000</a:t>
            </a:r>
            <a:endParaRPr lang="en-GB" dirty="0"/>
          </a:p>
        </p:txBody>
      </p:sp>
      <p:sp>
        <p:nvSpPr>
          <p:cNvPr id="33" name="TextBox 32"/>
          <p:cNvSpPr txBox="1"/>
          <p:nvPr/>
        </p:nvSpPr>
        <p:spPr>
          <a:xfrm>
            <a:off x="7313468" y="4399340"/>
            <a:ext cx="74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8080</a:t>
            </a:r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7313468" y="5168727"/>
            <a:ext cx="74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8080</a:t>
            </a:r>
            <a:endParaRPr lang="en-GB" dirty="0"/>
          </a:p>
        </p:txBody>
      </p:sp>
      <p:sp>
        <p:nvSpPr>
          <p:cNvPr id="35" name="TextBox 34"/>
          <p:cNvSpPr txBox="1"/>
          <p:nvPr/>
        </p:nvSpPr>
        <p:spPr>
          <a:xfrm>
            <a:off x="4495790" y="4480842"/>
            <a:ext cx="863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5432</a:t>
            </a:r>
            <a:endParaRPr lang="en-GB" dirty="0"/>
          </a:p>
        </p:txBody>
      </p:sp>
      <p:cxnSp>
        <p:nvCxnSpPr>
          <p:cNvPr id="37" name="Straight Arrow Connector 36"/>
          <p:cNvCxnSpPr>
            <a:stCxn id="35" idx="2"/>
            <a:endCxn id="32" idx="0"/>
          </p:cNvCxnSpPr>
          <p:nvPr/>
        </p:nvCxnSpPr>
        <p:spPr>
          <a:xfrm>
            <a:off x="4927707" y="4850174"/>
            <a:ext cx="0" cy="3285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33" idx="2"/>
            <a:endCxn id="34" idx="0"/>
          </p:cNvCxnSpPr>
          <p:nvPr/>
        </p:nvCxnSpPr>
        <p:spPr>
          <a:xfrm>
            <a:off x="7684251" y="4768672"/>
            <a:ext cx="0" cy="40005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Tab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996628"/>
              </p:ext>
            </p:extLst>
          </p:nvPr>
        </p:nvGraphicFramePr>
        <p:xfrm>
          <a:off x="2709949" y="5844555"/>
          <a:ext cx="7257012" cy="88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728">
                  <a:extLst>
                    <a:ext uri="{9D8B030D-6E8A-4147-A177-3AD203B41FA5}">
                      <a16:colId xmlns:a16="http://schemas.microsoft.com/office/drawing/2014/main" xmlns="" val="736635389"/>
                    </a:ext>
                  </a:extLst>
                </a:gridCol>
                <a:gridCol w="1711331">
                  <a:extLst>
                    <a:ext uri="{9D8B030D-6E8A-4147-A177-3AD203B41FA5}">
                      <a16:colId xmlns:a16="http://schemas.microsoft.com/office/drawing/2014/main" xmlns="" val="297964325"/>
                    </a:ext>
                  </a:extLst>
                </a:gridCol>
                <a:gridCol w="4124953">
                  <a:extLst>
                    <a:ext uri="{9D8B030D-6E8A-4147-A177-3AD203B41FA5}">
                      <a16:colId xmlns:a16="http://schemas.microsoft.com/office/drawing/2014/main" xmlns="" val="1753455201"/>
                    </a:ext>
                  </a:extLst>
                </a:gridCol>
              </a:tblGrid>
              <a:tr h="172212"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Container App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Docker File nam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Image name(Docker hub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20878805"/>
                  </a:ext>
                </a:extLst>
              </a:tr>
              <a:tr h="253541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ostgreSQ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Dockerfile_pg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mekpradhan</a:t>
                      </a:r>
                      <a:r>
                        <a:rPr lang="en-GB" sz="1400" dirty="0" smtClean="0"/>
                        <a:t>/</a:t>
                      </a:r>
                      <a:r>
                        <a:rPr lang="en-GB" sz="1400" dirty="0" err="1" smtClean="0"/>
                        <a:t>knab_dwh:knab_dwh_pg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01995063"/>
                  </a:ext>
                </a:extLst>
              </a:tr>
              <a:tr h="253541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Airflow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Dockerfile_airflow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mekpradhan</a:t>
                      </a:r>
                      <a:r>
                        <a:rPr lang="en-GB" sz="1400" dirty="0" smtClean="0"/>
                        <a:t>/</a:t>
                      </a:r>
                      <a:r>
                        <a:rPr lang="en-GB" sz="1400" dirty="0" err="1" smtClean="0"/>
                        <a:t>knab_dwh:Knab_dwh_airflow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71918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14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Demo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6179E3E6-D2E0-0641-9044-A5C8BE908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2" y="1724297"/>
            <a:ext cx="8915400" cy="3777622"/>
          </a:xfrm>
        </p:spPr>
        <p:txBody>
          <a:bodyPr/>
          <a:lstStyle/>
          <a:p>
            <a:r>
              <a:rPr lang="en-US" dirty="0"/>
              <a:t>Done on a </a:t>
            </a:r>
            <a:r>
              <a:rPr lang="en-US" dirty="0" smtClean="0"/>
              <a:t>small </a:t>
            </a:r>
            <a:r>
              <a:rPr lang="en-US" dirty="0"/>
              <a:t>set of Data(</a:t>
            </a:r>
            <a:r>
              <a:rPr lang="en-US" sz="1600" i="1" dirty="0"/>
              <a:t>in the interest of time</a:t>
            </a:r>
            <a:r>
              <a:rPr lang="en-US" dirty="0"/>
              <a:t>)</a:t>
            </a:r>
          </a:p>
          <a:p>
            <a:r>
              <a:rPr lang="en-US" dirty="0"/>
              <a:t>Will be an E2E demo inclusive of:</a:t>
            </a:r>
          </a:p>
          <a:p>
            <a:pPr lvl="1"/>
            <a:r>
              <a:rPr lang="en-US" dirty="0" smtClean="0"/>
              <a:t>SQL </a:t>
            </a:r>
            <a:r>
              <a:rPr lang="en-US" dirty="0"/>
              <a:t>code walkthrough</a:t>
            </a:r>
          </a:p>
          <a:p>
            <a:pPr lvl="1"/>
            <a:r>
              <a:rPr lang="en-US" dirty="0" smtClean="0"/>
              <a:t>Job execution using Airflow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87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Data Model(Auditing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744" y="1721894"/>
            <a:ext cx="11548199" cy="4703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17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B2A11469-D219-6F4A-AC43-38B81A8701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62266" y="555585"/>
            <a:ext cx="9111476" cy="6131209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2E6130-F4E9-BA4A-BFF0-8A33FDBF1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5797" y="1493134"/>
            <a:ext cx="9152287" cy="1615633"/>
          </a:xfrm>
        </p:spPr>
        <p:txBody>
          <a:bodyPr/>
          <a:lstStyle/>
          <a:p>
            <a:r>
              <a:rPr lang="en-US" u="sng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65366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346527" cy="5342709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rgbClr val="002060"/>
                </a:solidFill>
              </a:rPr>
              <a:t>Event Based Trigger : (Automatic triggering of DWH batch)</a:t>
            </a:r>
          </a:p>
          <a:p>
            <a:pPr lvl="1"/>
            <a:r>
              <a:rPr lang="en-US" dirty="0" smtClean="0"/>
              <a:t>We </a:t>
            </a:r>
            <a:r>
              <a:rPr lang="en-US" dirty="0"/>
              <a:t>can create an airflow dag task to check every 2-5 seconds, if </a:t>
            </a:r>
            <a:r>
              <a:rPr lang="en-US" dirty="0" smtClean="0"/>
              <a:t>already all files have  been delivered then start the batch. </a:t>
            </a:r>
          </a:p>
          <a:p>
            <a:r>
              <a:rPr lang="en-US" dirty="0" smtClean="0">
                <a:solidFill>
                  <a:srgbClr val="002060"/>
                </a:solidFill>
              </a:rPr>
              <a:t>Batch </a:t>
            </a:r>
            <a:r>
              <a:rPr lang="en-US" dirty="0">
                <a:solidFill>
                  <a:srgbClr val="002060"/>
                </a:solidFill>
              </a:rPr>
              <a:t>Status Mail : </a:t>
            </a:r>
          </a:p>
          <a:p>
            <a:pPr lvl="1"/>
            <a:r>
              <a:rPr lang="en-US" dirty="0"/>
              <a:t>We can create a job which will send (Team) an email confirmation that batch has started, completed staging, completed fact and OLAP etc. In each stage we can get notified.</a:t>
            </a:r>
          </a:p>
          <a:p>
            <a:r>
              <a:rPr lang="en-US" dirty="0">
                <a:solidFill>
                  <a:srgbClr val="002060"/>
                </a:solidFill>
              </a:rPr>
              <a:t>Staging Area </a:t>
            </a:r>
            <a:r>
              <a:rPr lang="en-US" dirty="0" smtClean="0">
                <a:solidFill>
                  <a:srgbClr val="002060"/>
                </a:solidFill>
              </a:rPr>
              <a:t>:</a:t>
            </a:r>
          </a:p>
          <a:p>
            <a:pPr lvl="1"/>
            <a:r>
              <a:rPr lang="en-US" dirty="0" smtClean="0"/>
              <a:t>Parallel </a:t>
            </a:r>
            <a:r>
              <a:rPr lang="en-US" dirty="0"/>
              <a:t>processing : If we use Amazon redshift(distributed network) to store whole DWH area, then these huge data can be processed parallel across multiple nodes</a:t>
            </a:r>
            <a:r>
              <a:rPr lang="en-US" dirty="0" smtClean="0"/>
              <a:t>.</a:t>
            </a:r>
          </a:p>
          <a:p>
            <a:r>
              <a:rPr lang="en-US" dirty="0">
                <a:solidFill>
                  <a:srgbClr val="002060"/>
                </a:solidFill>
              </a:rPr>
              <a:t>Batch Monitoring Dashboard :</a:t>
            </a:r>
          </a:p>
          <a:p>
            <a:pPr lvl="1"/>
            <a:r>
              <a:rPr lang="en-US" dirty="0" smtClean="0"/>
              <a:t>Create </a:t>
            </a:r>
            <a:r>
              <a:rPr lang="en-US" dirty="0"/>
              <a:t>a Batch monitoring dashboard using </a:t>
            </a:r>
            <a:r>
              <a:rPr lang="en-US" dirty="0" err="1"/>
              <a:t>auditing_own</a:t>
            </a:r>
            <a:r>
              <a:rPr lang="en-US" dirty="0"/>
              <a:t> schema tables, where we can easily monitor the  batch status(if not airflow</a:t>
            </a:r>
            <a:r>
              <a:rPr lang="en-US" dirty="0" smtClean="0"/>
              <a:t>).</a:t>
            </a:r>
          </a:p>
          <a:p>
            <a:r>
              <a:rPr lang="en-US" dirty="0">
                <a:solidFill>
                  <a:srgbClr val="002060"/>
                </a:solidFill>
              </a:rPr>
              <a:t>Source File Movement :</a:t>
            </a:r>
          </a:p>
          <a:p>
            <a:pPr lvl="1"/>
            <a:r>
              <a:rPr lang="en-US" dirty="0" smtClean="0"/>
              <a:t>Once Python processes the source file, the file should be moved to done location. In that way we will not be overriding the files of one date to another.</a:t>
            </a:r>
          </a:p>
          <a:p>
            <a:pPr lvl="1"/>
            <a:r>
              <a:rPr lang="en-US" dirty="0" smtClean="0"/>
              <a:t>In case there is a failure we should move the file to working location. In that way it would be clear which one is still pending for processing.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uture Improvements</a:t>
            </a:r>
          </a:p>
        </p:txBody>
      </p:sp>
    </p:spTree>
    <p:extLst>
      <p:ext uri="{BB962C8B-B14F-4D97-AF65-F5344CB8AC3E}">
        <p14:creationId xmlns:p14="http://schemas.microsoft.com/office/powerpoint/2010/main" val="3442659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782" y="624110"/>
            <a:ext cx="8911687" cy="729202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803B833-6AB9-8E4C-B6B5-1ECAF6497F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29224"/>
            <a:ext cx="9506844" cy="523733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bout Me</a:t>
            </a:r>
          </a:p>
          <a:p>
            <a:r>
              <a:rPr lang="en-US" dirty="0"/>
              <a:t>The Challenge</a:t>
            </a:r>
          </a:p>
          <a:p>
            <a:r>
              <a:rPr lang="en-US" dirty="0"/>
              <a:t>High level Solution</a:t>
            </a:r>
          </a:p>
          <a:p>
            <a:r>
              <a:rPr lang="en-US" dirty="0"/>
              <a:t>Solution Details</a:t>
            </a:r>
          </a:p>
          <a:p>
            <a:pPr lvl="1"/>
            <a:r>
              <a:rPr lang="en-US" dirty="0" smtClean="0"/>
              <a:t>Assumptions</a:t>
            </a:r>
          </a:p>
          <a:p>
            <a:pPr lvl="1"/>
            <a:r>
              <a:rPr lang="en-US" dirty="0" smtClean="0"/>
              <a:t>Staging </a:t>
            </a:r>
            <a:r>
              <a:rPr lang="en-US" dirty="0"/>
              <a:t>Layer</a:t>
            </a:r>
          </a:p>
          <a:p>
            <a:pPr lvl="1"/>
            <a:r>
              <a:rPr lang="en-US" dirty="0" smtClean="0"/>
              <a:t>Dimensional Model</a:t>
            </a:r>
          </a:p>
          <a:p>
            <a:pPr lvl="1"/>
            <a:r>
              <a:rPr lang="en-US" dirty="0" smtClean="0"/>
              <a:t>Control Model</a:t>
            </a:r>
          </a:p>
          <a:p>
            <a:pPr lvl="1"/>
            <a:r>
              <a:rPr lang="en-US" dirty="0" smtClean="0"/>
              <a:t>Job </a:t>
            </a:r>
            <a:r>
              <a:rPr lang="en-US" dirty="0"/>
              <a:t>Process Model</a:t>
            </a:r>
          </a:p>
          <a:p>
            <a:pPr lvl="1"/>
            <a:r>
              <a:rPr lang="en-US" dirty="0" smtClean="0"/>
              <a:t>DGS Report for DNB</a:t>
            </a:r>
            <a:endParaRPr lang="en-US" dirty="0"/>
          </a:p>
          <a:p>
            <a:r>
              <a:rPr lang="en-US" dirty="0"/>
              <a:t>Demo</a:t>
            </a:r>
          </a:p>
          <a:p>
            <a:r>
              <a:rPr lang="en-US" dirty="0"/>
              <a:t>Questions </a:t>
            </a:r>
            <a:endParaRPr lang="en-US" dirty="0" smtClean="0"/>
          </a:p>
          <a:p>
            <a:r>
              <a:rPr lang="en-US" dirty="0" smtClean="0"/>
              <a:t>Future Improvements</a:t>
            </a:r>
          </a:p>
          <a:p>
            <a:r>
              <a:rPr lang="en-US" dirty="0" smtClean="0"/>
              <a:t>Code base lin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989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346527" cy="534270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Independent Execution of airflow containers :</a:t>
            </a:r>
          </a:p>
          <a:p>
            <a:pPr lvl="1"/>
            <a:r>
              <a:rPr lang="en-US" dirty="0"/>
              <a:t>In a production environment set up , we should separate airflow scheduler &amp; webserver, so that they should run in two different containers.</a:t>
            </a:r>
          </a:p>
          <a:p>
            <a:pPr lvl="1"/>
            <a:r>
              <a:rPr lang="en-US" dirty="0"/>
              <a:t>Proper networking between containers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Creating an </a:t>
            </a:r>
            <a:r>
              <a:rPr lang="en-US" dirty="0" err="1" smtClean="0"/>
              <a:t>docker-compose.yml</a:t>
            </a:r>
            <a:r>
              <a:rPr lang="en-US" dirty="0" smtClean="0"/>
              <a:t> file to start all these containers at once</a:t>
            </a:r>
            <a:endParaRPr lang="en-US" dirty="0"/>
          </a:p>
          <a:p>
            <a:r>
              <a:rPr lang="en-US" dirty="0">
                <a:solidFill>
                  <a:srgbClr val="002060"/>
                </a:solidFill>
              </a:rPr>
              <a:t>PDF Report to DNB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uture Improvements</a:t>
            </a:r>
          </a:p>
        </p:txBody>
      </p:sp>
    </p:spTree>
    <p:extLst>
      <p:ext uri="{BB962C8B-B14F-4D97-AF65-F5344CB8AC3E}">
        <p14:creationId xmlns:p14="http://schemas.microsoft.com/office/powerpoint/2010/main" val="153349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3866" y="1340565"/>
            <a:ext cx="9971319" cy="5359493"/>
          </a:xfr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GB" dirty="0" smtClean="0"/>
              <a:t>Docker Images(Airflow + </a:t>
            </a:r>
            <a:r>
              <a:rPr lang="en-GB" dirty="0" err="1" smtClean="0"/>
              <a:t>Postgres</a:t>
            </a:r>
            <a:r>
              <a:rPr lang="en-GB" dirty="0" smtClean="0"/>
              <a:t>)</a:t>
            </a:r>
          </a:p>
          <a:p>
            <a:pPr lvl="1"/>
            <a:r>
              <a:rPr lang="en-GB" dirty="0" err="1" smtClean="0"/>
              <a:t>Dockerfiles</a:t>
            </a:r>
            <a:r>
              <a:rPr lang="en-GB" dirty="0"/>
              <a:t> : </a:t>
            </a:r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github.com/Kulamanipradhan0/knab_dwh</a:t>
            </a:r>
            <a:endParaRPr lang="en-GB" dirty="0" smtClean="0"/>
          </a:p>
          <a:p>
            <a:pPr lvl="2"/>
            <a:r>
              <a:rPr lang="en-GB" dirty="0" err="1" smtClean="0"/>
              <a:t>Dockerfile_pg</a:t>
            </a:r>
            <a:endParaRPr lang="en-GB" dirty="0" smtClean="0"/>
          </a:p>
          <a:p>
            <a:pPr lvl="2"/>
            <a:r>
              <a:rPr lang="en-GB" dirty="0" err="1" smtClean="0"/>
              <a:t>Dockerfile_airflow</a:t>
            </a:r>
            <a:endParaRPr lang="en-GB" dirty="0" smtClean="0"/>
          </a:p>
          <a:p>
            <a:pPr lvl="1"/>
            <a:r>
              <a:rPr lang="en-GB" dirty="0" smtClean="0"/>
              <a:t>Images </a:t>
            </a:r>
            <a:r>
              <a:rPr lang="en-GB" dirty="0"/>
              <a:t>: https://hub.docker.com/repository/docker/mekpradhan/knab_dwh</a:t>
            </a:r>
            <a:endParaRPr lang="en-GB" dirty="0" smtClean="0"/>
          </a:p>
          <a:p>
            <a:r>
              <a:rPr lang="en-GB" dirty="0" smtClean="0"/>
              <a:t>DDL Code base : This is used to create all DB objects i.e. schema, users, tables, partitions </a:t>
            </a:r>
            <a:r>
              <a:rPr lang="en-GB" dirty="0" err="1" smtClean="0"/>
              <a:t>etc</a:t>
            </a:r>
            <a:endParaRPr lang="en-GB" dirty="0" smtClean="0"/>
          </a:p>
          <a:p>
            <a:pPr lvl="1"/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github.com/Kulamanipradhan0/knab_dwh/tree/main/db_scripts</a:t>
            </a:r>
            <a:endParaRPr lang="en-GB" dirty="0" smtClean="0"/>
          </a:p>
          <a:p>
            <a:r>
              <a:rPr lang="en-GB" dirty="0" smtClean="0"/>
              <a:t>ETL Repository : All code base related to staging, dimension, fact &amp; report loading</a:t>
            </a:r>
          </a:p>
          <a:p>
            <a:pPr lvl="1"/>
            <a:r>
              <a:rPr lang="en-GB" dirty="0">
                <a:hlinkClick r:id="rId4"/>
              </a:rPr>
              <a:t>https://</a:t>
            </a:r>
            <a:r>
              <a:rPr lang="en-GB" dirty="0" smtClean="0">
                <a:hlinkClick r:id="rId4"/>
              </a:rPr>
              <a:t>github.com/Kulamanipradhan0/knab_dwh/tree/main/etl_repo</a:t>
            </a:r>
            <a:endParaRPr lang="en-GB" dirty="0" smtClean="0"/>
          </a:p>
          <a:p>
            <a:r>
              <a:rPr lang="en-GB" dirty="0" smtClean="0"/>
              <a:t>Sample Source Files : All sample flat files </a:t>
            </a:r>
          </a:p>
          <a:p>
            <a:pPr lvl="1"/>
            <a:r>
              <a:rPr lang="en-GB" dirty="0">
                <a:hlinkClick r:id="rId5"/>
              </a:rPr>
              <a:t>https://</a:t>
            </a:r>
            <a:r>
              <a:rPr lang="en-GB" dirty="0" smtClean="0">
                <a:hlinkClick r:id="rId5"/>
              </a:rPr>
              <a:t>github.com/Kulamanipradhan0/knab_dwh/tree/main/src_files/polling</a:t>
            </a:r>
            <a:endParaRPr lang="en-GB" dirty="0" smtClean="0"/>
          </a:p>
          <a:p>
            <a:r>
              <a:rPr lang="en-GB" dirty="0" smtClean="0"/>
              <a:t>Airflow Dag file : Used for running the complete DWH batch</a:t>
            </a:r>
          </a:p>
          <a:p>
            <a:pPr lvl="1"/>
            <a:r>
              <a:rPr lang="en-GB" dirty="0">
                <a:hlinkClick r:id="rId6"/>
              </a:rPr>
              <a:t>https://</a:t>
            </a:r>
            <a:r>
              <a:rPr lang="en-GB" dirty="0" smtClean="0">
                <a:hlinkClick r:id="rId6"/>
              </a:rPr>
              <a:t>github.com/Kulamanipradhan0/knab_dwh/tree/main/airflow/dags</a:t>
            </a:r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Code </a:t>
            </a:r>
            <a:r>
              <a:rPr lang="en-GB" dirty="0" smtClean="0"/>
              <a:t>Base Links </a:t>
            </a:r>
            <a:r>
              <a:rPr lang="en-GB" dirty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045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3866" y="1340565"/>
            <a:ext cx="9971319" cy="5359493"/>
          </a:xfr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r>
              <a:rPr lang="en-GB" dirty="0" smtClean="0"/>
              <a:t>Loading data from Transaction to EOD Position </a:t>
            </a:r>
            <a:r>
              <a:rPr lang="en-GB" dirty="0" smtClean="0">
                <a:sym typeface="Wingdings" panose="05000000000000000000" pitchFamily="2" charset="2"/>
              </a:rPr>
              <a:t>: (Making sure all active customers are getting loaded everyday )</a:t>
            </a:r>
            <a:endParaRPr lang="en-GB" dirty="0" smtClean="0"/>
          </a:p>
          <a:p>
            <a:pPr lvl="1"/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github.com/Kulamanipradhan0/knab_dwh/blob/main/etl_repo/fact/fac_dwh_eod_position.sql</a:t>
            </a:r>
            <a:endParaRPr lang="en-GB" dirty="0" smtClean="0"/>
          </a:p>
          <a:p>
            <a:r>
              <a:rPr lang="en-GB" dirty="0" smtClean="0"/>
              <a:t>Data Validation Layer(nice to have). Ex:</a:t>
            </a:r>
          </a:p>
          <a:p>
            <a:pPr lvl="1"/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github.com/Kulamanipradhan0/knab_dwh/blob/main/etl_repo/staging/staging_data_validation.sql</a:t>
            </a:r>
            <a:endParaRPr lang="en-GB" dirty="0" smtClean="0"/>
          </a:p>
          <a:p>
            <a:r>
              <a:rPr lang="en-GB" dirty="0" smtClean="0"/>
              <a:t>ETL </a:t>
            </a:r>
            <a:r>
              <a:rPr lang="en-GB" dirty="0"/>
              <a:t>Log files : During Job run ETL logs will be created in this directory.</a:t>
            </a:r>
          </a:p>
          <a:p>
            <a:pPr lvl="1"/>
            <a:r>
              <a:rPr lang="en-GB" dirty="0">
                <a:hlinkClick r:id="rId4"/>
              </a:rPr>
              <a:t>https://github.com/Kulamanipradhan0/knab_dwh/tree/main/log_files</a:t>
            </a:r>
            <a:endParaRPr lang="en-GB" dirty="0"/>
          </a:p>
          <a:p>
            <a:r>
              <a:rPr lang="en-GB" dirty="0"/>
              <a:t>SCD Type 2 Implementation </a:t>
            </a:r>
            <a:r>
              <a:rPr lang="en-GB" dirty="0" smtClean="0"/>
              <a:t>using SQL : </a:t>
            </a:r>
            <a:r>
              <a:rPr lang="en-GB" dirty="0"/>
              <a:t>(</a:t>
            </a:r>
            <a:r>
              <a:rPr lang="en-GB" dirty="0" err="1"/>
              <a:t>dim_customer</a:t>
            </a:r>
            <a:r>
              <a:rPr lang="en-GB" dirty="0"/>
              <a:t>)</a:t>
            </a:r>
          </a:p>
          <a:p>
            <a:pPr lvl="1"/>
            <a:r>
              <a:rPr lang="en-GB" dirty="0">
                <a:hlinkClick r:id="rId5"/>
              </a:rPr>
              <a:t>https://github.com/Kulamanipradhan0/knab_dwh/blob/main/etl_repo/dimension/dim_customer_type2_load.sql</a:t>
            </a:r>
            <a:endParaRPr lang="en-GB" dirty="0"/>
          </a:p>
          <a:p>
            <a:r>
              <a:rPr lang="en-GB" dirty="0"/>
              <a:t> Report Code : (</a:t>
            </a:r>
            <a:r>
              <a:rPr lang="en-GB" u="sng" dirty="0" err="1"/>
              <a:t>DNB_DGS_Last_Year_Report</a:t>
            </a:r>
            <a:r>
              <a:rPr lang="en-GB" u="sng" dirty="0"/>
              <a:t>)</a:t>
            </a:r>
          </a:p>
          <a:p>
            <a:pPr lvl="1"/>
            <a:r>
              <a:rPr lang="en-GB" dirty="0"/>
              <a:t>Main Job : </a:t>
            </a:r>
            <a:r>
              <a:rPr lang="en-GB" dirty="0">
                <a:hlinkClick r:id="rId6"/>
              </a:rPr>
              <a:t>https://github.com/Kulamanipradhan0/knab_dwh/blob/main/etl_repo/report/DNB_DGS_Last_Year_Report.py</a:t>
            </a:r>
            <a:endParaRPr lang="en-GB" dirty="0"/>
          </a:p>
          <a:p>
            <a:pPr lvl="1"/>
            <a:r>
              <a:rPr lang="en-GB" dirty="0"/>
              <a:t>SQL : </a:t>
            </a:r>
            <a:r>
              <a:rPr lang="en-GB" dirty="0">
                <a:hlinkClick r:id="rId7"/>
              </a:rPr>
              <a:t>https://github.com/Kulamanipradhan0/knab_dwh/blob/main/etl_repo/report/dnb_dgs_report_query.sql</a:t>
            </a:r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Code </a:t>
            </a:r>
            <a:r>
              <a:rPr lang="en-GB" dirty="0" smtClean="0"/>
              <a:t>Base Links </a:t>
            </a:r>
            <a:r>
              <a:rPr lang="en-GB" dirty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37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44B266B3-A24B-6840-98F9-748A84108B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46492" y="316992"/>
            <a:ext cx="7169781" cy="6205156"/>
          </a:xfrm>
        </p:spPr>
      </p:pic>
    </p:spTree>
    <p:extLst>
      <p:ext uri="{BB962C8B-B14F-4D97-AF65-F5344CB8AC3E}">
        <p14:creationId xmlns:p14="http://schemas.microsoft.com/office/powerpoint/2010/main" val="2386646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542356-1E69-224C-BB10-3756C04F7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8352" y="1024890"/>
            <a:ext cx="3921188" cy="902208"/>
          </a:xfrm>
        </p:spPr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86F10B9-9992-9B43-B135-EC8E72FB2A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8352" y="2206752"/>
            <a:ext cx="4116260" cy="3708654"/>
          </a:xfrm>
        </p:spPr>
        <p:txBody>
          <a:bodyPr/>
          <a:lstStyle/>
          <a:p>
            <a:r>
              <a:rPr lang="en-US" dirty="0"/>
              <a:t>Kulamani Pradhan</a:t>
            </a:r>
          </a:p>
          <a:p>
            <a:pPr lvl="1"/>
            <a:r>
              <a:rPr lang="en-US" dirty="0"/>
              <a:t>Native from India</a:t>
            </a:r>
          </a:p>
          <a:p>
            <a:pPr lvl="1"/>
            <a:r>
              <a:rPr lang="en-US" dirty="0"/>
              <a:t>Bachelor of Engineering in Information Technology</a:t>
            </a:r>
          </a:p>
          <a:p>
            <a:pPr lvl="1"/>
            <a:r>
              <a:rPr lang="en-US" dirty="0"/>
              <a:t>Professional experience &gt; </a:t>
            </a:r>
            <a:r>
              <a:rPr lang="en-US" dirty="0" smtClean="0"/>
              <a:t>9 </a:t>
            </a:r>
            <a:r>
              <a:rPr lang="en-US" dirty="0" smtClean="0"/>
              <a:t>years</a:t>
            </a:r>
            <a:endParaRPr lang="en-US" dirty="0"/>
          </a:p>
          <a:p>
            <a:pPr lvl="1"/>
            <a:r>
              <a:rPr lang="en-US" dirty="0" smtClean="0"/>
              <a:t>DWH</a:t>
            </a:r>
            <a:r>
              <a:rPr lang="en-US" dirty="0" smtClean="0"/>
              <a:t> </a:t>
            </a:r>
            <a:r>
              <a:rPr lang="en-US" dirty="0" smtClean="0"/>
              <a:t>Developer</a:t>
            </a:r>
            <a:endParaRPr lang="en-US" dirty="0"/>
          </a:p>
          <a:p>
            <a:pPr lvl="1"/>
            <a:r>
              <a:rPr lang="en-US" dirty="0"/>
              <a:t>Hobbies include playing cricket, cook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BA1D8AA-9AB7-9948-AC2D-F50B89373C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6124" y="1024890"/>
            <a:ext cx="4780788" cy="478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37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30A5C641-0BF6-124F-B9B2-C55FB1608F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30A5C641-0BF6-124F-B9B2-C55FB1608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178420A-7812-2F4F-A440-137C7D6A1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02C9A5-716F-45E6-800B-D4D02CE26F90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42365E3-428A-4948-B854-7AE3CC410E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itu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CCD307A-4F9E-4749-A916-499177BB16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Challenges</a:t>
            </a:r>
          </a:p>
        </p:txBody>
      </p:sp>
      <p:sp>
        <p:nvSpPr>
          <p:cNvPr id="6" name="Vertical Text Placeholder 5">
            <a:extLst>
              <a:ext uri="{FF2B5EF4-FFF2-40B4-BE49-F238E27FC236}">
                <a16:creationId xmlns:a16="http://schemas.microsoft.com/office/drawing/2014/main" xmlns="" id="{2994ECE7-9A92-784D-A21D-3209008F5D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horz" lIns="0" tIns="0" rIns="0" bIns="0" anchor="t"/>
          <a:lstStyle/>
          <a:p>
            <a:pPr marL="0" indent="0">
              <a:buNone/>
            </a:pPr>
            <a:r>
              <a:rPr lang="en-NL" sz="1100" dirty="0"/>
              <a:t>Don is the COO at Knab. He is responsible for complying with DNB regulations, one of which is around the DGS (Deposito </a:t>
            </a:r>
            <a:r>
              <a:rPr lang="en-NL" sz="1100" dirty="0" err="1"/>
              <a:t>Garantie</a:t>
            </a:r>
            <a:r>
              <a:rPr lang="en-NL" sz="1100" dirty="0"/>
              <a:t> </a:t>
            </a:r>
            <a:r>
              <a:rPr lang="en-NL" sz="1100" dirty="0" err="1"/>
              <a:t>Stelsel</a:t>
            </a:r>
            <a:r>
              <a:rPr lang="en-NL" sz="1100" dirty="0"/>
              <a:t>). The DNB guarantees a maximum amount of € 100K per person in case the bank goes bankrupt.</a:t>
            </a:r>
          </a:p>
          <a:p>
            <a:pPr marL="0" indent="0">
              <a:buNone/>
            </a:pPr>
            <a:r>
              <a:rPr lang="en-NL" sz="1100" dirty="0"/>
              <a:t>In order for the DNB to make good on that promise, they want to know exactly how much money they would need to pay out. So Don wants to give them a list of all customers and the amount of money that is guaranteed by the DNB for those customers at the end of last year.</a:t>
            </a:r>
            <a:endParaRPr lang="en-NL" sz="1100" dirty="0">
              <a:ea typeface="Verdana"/>
            </a:endParaRPr>
          </a:p>
          <a:p>
            <a:pPr marL="0" indent="0">
              <a:buNone/>
            </a:pPr>
            <a:r>
              <a:rPr lang="en-NL" sz="1100" dirty="0"/>
              <a:t>What makes it slightly more interesting, there are multiple source databases with information about customers (CRM) and about financial transactions (let’s call them Fin) and customers can appear in multiple </a:t>
            </a:r>
            <a:r>
              <a:rPr lang="en-NL" sz="1100"/>
              <a:t>systems at once.</a:t>
            </a:r>
            <a:endParaRPr lang="en-NL" sz="1100">
              <a:ea typeface="Verdana"/>
            </a:endParaRPr>
          </a:p>
        </p:txBody>
      </p:sp>
      <p:sp>
        <p:nvSpPr>
          <p:cNvPr id="7" name="Vertical Text Placeholder 6">
            <a:extLst>
              <a:ext uri="{FF2B5EF4-FFF2-40B4-BE49-F238E27FC236}">
                <a16:creationId xmlns:a16="http://schemas.microsoft.com/office/drawing/2014/main" xmlns="" id="{687117B4-E28D-CD42-91F4-5E9BF26CC338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/>
        <p:txBody>
          <a:bodyPr/>
          <a:lstStyle/>
          <a:p>
            <a:r>
              <a:rPr lang="en-US" sz="1100"/>
              <a:t>Describe which data you think should be used to answer </a:t>
            </a:r>
            <a:r>
              <a:rPr lang="en-NL" sz="1100"/>
              <a:t>Don’s</a:t>
            </a:r>
            <a:r>
              <a:rPr lang="en-US" sz="1100"/>
              <a:t> question</a:t>
            </a:r>
          </a:p>
          <a:p>
            <a:r>
              <a:rPr lang="en-US" sz="1100"/>
              <a:t>Draw a dimensional data model describing these data sets</a:t>
            </a:r>
          </a:p>
          <a:p>
            <a:r>
              <a:rPr lang="en-US" sz="1100"/>
              <a:t>Describe which controls you would implement to ensure the final result is correct.</a:t>
            </a:r>
          </a:p>
          <a:p>
            <a:r>
              <a:rPr lang="en-US" sz="1100"/>
              <a:t>Write a SQL query that produces the desired resul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BADE4275-1AFF-8C48-8988-390DA570F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L"/>
              <a:t>Case</a:t>
            </a:r>
          </a:p>
        </p:txBody>
      </p:sp>
      <p:sp>
        <p:nvSpPr>
          <p:cNvPr id="11" name="Can 10">
            <a:extLst>
              <a:ext uri="{FF2B5EF4-FFF2-40B4-BE49-F238E27FC236}">
                <a16:creationId xmlns:a16="http://schemas.microsoft.com/office/drawing/2014/main" xmlns="" id="{4F1FAF9B-C6E8-2A42-B2AB-D1775C041D2B}"/>
              </a:ext>
            </a:extLst>
          </p:cNvPr>
          <p:cNvSpPr/>
          <p:nvPr/>
        </p:nvSpPr>
        <p:spPr>
          <a:xfrm>
            <a:off x="86115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M A</a:t>
            </a:r>
          </a:p>
        </p:txBody>
      </p:sp>
      <p:sp>
        <p:nvSpPr>
          <p:cNvPr id="12" name="Can 11">
            <a:extLst>
              <a:ext uri="{FF2B5EF4-FFF2-40B4-BE49-F238E27FC236}">
                <a16:creationId xmlns:a16="http://schemas.microsoft.com/office/drawing/2014/main" xmlns="" id="{3B14E560-DDE4-9F44-AC3B-DFA196AD0B4F}"/>
              </a:ext>
            </a:extLst>
          </p:cNvPr>
          <p:cNvSpPr/>
          <p:nvPr/>
        </p:nvSpPr>
        <p:spPr>
          <a:xfrm>
            <a:off x="86115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M B</a:t>
            </a:r>
          </a:p>
        </p:txBody>
      </p:sp>
      <p:sp>
        <p:nvSpPr>
          <p:cNvPr id="13" name="Can 12">
            <a:extLst>
              <a:ext uri="{FF2B5EF4-FFF2-40B4-BE49-F238E27FC236}">
                <a16:creationId xmlns:a16="http://schemas.microsoft.com/office/drawing/2014/main" xmlns="" id="{0B6B90A5-7F53-4B4D-B882-7AF1A232F0E6}"/>
              </a:ext>
            </a:extLst>
          </p:cNvPr>
          <p:cNvSpPr/>
          <p:nvPr/>
        </p:nvSpPr>
        <p:spPr>
          <a:xfrm>
            <a:off x="395706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 A</a:t>
            </a:r>
          </a:p>
        </p:txBody>
      </p:sp>
      <p:sp>
        <p:nvSpPr>
          <p:cNvPr id="14" name="Can 13">
            <a:extLst>
              <a:ext uri="{FF2B5EF4-FFF2-40B4-BE49-F238E27FC236}">
                <a16:creationId xmlns:a16="http://schemas.microsoft.com/office/drawing/2014/main" xmlns="" id="{69389FD3-EA3D-8844-B5B5-82CD6E9262A7}"/>
              </a:ext>
            </a:extLst>
          </p:cNvPr>
          <p:cNvSpPr/>
          <p:nvPr/>
        </p:nvSpPr>
        <p:spPr>
          <a:xfrm>
            <a:off x="395706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 B</a:t>
            </a:r>
          </a:p>
        </p:txBody>
      </p:sp>
    </p:spTree>
    <p:extLst>
      <p:ext uri="{BB962C8B-B14F-4D97-AF65-F5344CB8AC3E}">
        <p14:creationId xmlns:p14="http://schemas.microsoft.com/office/powerpoint/2010/main" val="156514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xmlns="" id="{4DA1BDDE-EFBC-314F-8669-EB7A33D875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2218298"/>
              </p:ext>
            </p:extLst>
          </p:nvPr>
        </p:nvGraphicFramePr>
        <p:xfrm>
          <a:off x="1939782" y="1776548"/>
          <a:ext cx="9268149" cy="485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High Level Solution : Approac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DEACD9B-C0A8-7D47-BB64-C2D9B2A748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8463" y="4396934"/>
            <a:ext cx="113546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C85993B-C9BA-E848-BD0E-F962693CAA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6869" y="2941855"/>
            <a:ext cx="113546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A97E09F1-2749-6940-89C1-33766CD3E0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335" y="2941855"/>
            <a:ext cx="111013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58BFF212-B6E5-F742-84B8-488D6D059D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92470" y="2941855"/>
            <a:ext cx="1172341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52EDF090-2923-4D4E-A1C1-440F546426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83019" y="4386946"/>
            <a:ext cx="1334085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0750" y="1591566"/>
            <a:ext cx="657279" cy="7265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4C85993B-C9BA-E848-BD0E-F962693CAA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43328" y="5705036"/>
            <a:ext cx="1049981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A97E09F1-2749-6940-89C1-33766CD3E0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309" y="5705036"/>
            <a:ext cx="1015235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58BFF212-B6E5-F742-84B8-488D6D059D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08544" y="5698381"/>
            <a:ext cx="1072122" cy="5862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52EDF090-2923-4D4E-A1C1-440F546426D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3929" y="4386945"/>
            <a:ext cx="1159090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93819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High Level Solution : Approach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980901" y="2007969"/>
            <a:ext cx="1200009" cy="27933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745" y="2952516"/>
            <a:ext cx="739005" cy="81692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59545" y="4809133"/>
            <a:ext cx="1442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RAW Dat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42872" y="4813015"/>
            <a:ext cx="1722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Staging Layer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2180909" y="2210835"/>
            <a:ext cx="1424190" cy="782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180910" y="2713476"/>
            <a:ext cx="1424189" cy="440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7" idx="3"/>
            <a:endCxn id="41" idx="1"/>
          </p:cNvCxnSpPr>
          <p:nvPr/>
        </p:nvCxnSpPr>
        <p:spPr>
          <a:xfrm>
            <a:off x="2180910" y="3404634"/>
            <a:ext cx="14241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2180909" y="3656325"/>
            <a:ext cx="1424190" cy="325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2180910" y="3808725"/>
            <a:ext cx="1424189" cy="5388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499709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355" y="2530538"/>
            <a:ext cx="1447721" cy="1748191"/>
          </a:xfrm>
          <a:prstGeom prst="rect">
            <a:avLst/>
          </a:prstGeom>
        </p:spPr>
      </p:pic>
      <p:sp>
        <p:nvSpPr>
          <p:cNvPr id="34" name="Can 33"/>
          <p:cNvSpPr/>
          <p:nvPr/>
        </p:nvSpPr>
        <p:spPr>
          <a:xfrm>
            <a:off x="7495393" y="2226075"/>
            <a:ext cx="1978042" cy="2357120"/>
          </a:xfrm>
          <a:prstGeom prst="can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3605100" y="2007969"/>
            <a:ext cx="1137938" cy="279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dirty="0"/>
              <a:t>Data </a:t>
            </a:r>
            <a:r>
              <a:rPr lang="en-GB" sz="1400" dirty="0" smtClean="0"/>
              <a:t>Validations</a:t>
            </a:r>
            <a:endParaRPr lang="en-GB" sz="1400" dirty="0"/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480" y="3073022"/>
            <a:ext cx="1611711" cy="967027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9394" y="2938283"/>
            <a:ext cx="946099" cy="946099"/>
          </a:xfrm>
          <a:prstGeom prst="rect">
            <a:avLst/>
          </a:prstGeom>
        </p:spPr>
      </p:pic>
      <p:cxnSp>
        <p:nvCxnSpPr>
          <p:cNvPr id="71" name="Straight Arrow Connector 70"/>
          <p:cNvCxnSpPr>
            <a:stCxn id="34" idx="4"/>
            <a:endCxn id="70" idx="1"/>
          </p:cNvCxnSpPr>
          <p:nvPr/>
        </p:nvCxnSpPr>
        <p:spPr>
          <a:xfrm>
            <a:off x="9473435" y="3404635"/>
            <a:ext cx="875959" cy="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>
            <a:off x="7750926" y="4801299"/>
            <a:ext cx="1722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Warehouse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0104151" y="4799425"/>
            <a:ext cx="1403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Reporting</a:t>
            </a:r>
            <a:endParaRPr lang="en-GB" b="1" dirty="0">
              <a:solidFill>
                <a:schemeClr val="accent6"/>
              </a:solidFill>
            </a:endParaRPr>
          </a:p>
        </p:txBody>
      </p:sp>
      <p:cxnSp>
        <p:nvCxnSpPr>
          <p:cNvPr id="28" name="Straight Arrow Connector 27"/>
          <p:cNvCxnSpPr>
            <a:stCxn id="41" idx="3"/>
            <a:endCxn id="33" idx="1"/>
          </p:cNvCxnSpPr>
          <p:nvPr/>
        </p:nvCxnSpPr>
        <p:spPr>
          <a:xfrm>
            <a:off x="4743038" y="3404634"/>
            <a:ext cx="65231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3" idx="3"/>
            <a:endCxn id="34" idx="2"/>
          </p:cNvCxnSpPr>
          <p:nvPr/>
        </p:nvCxnSpPr>
        <p:spPr>
          <a:xfrm>
            <a:off x="6843076" y="3404634"/>
            <a:ext cx="65231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843076" y="3051578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SQL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71301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440772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54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614910" cy="5148745"/>
          </a:xfrm>
        </p:spPr>
        <p:txBody>
          <a:bodyPr>
            <a:normAutofit/>
          </a:bodyPr>
          <a:lstStyle/>
          <a:p>
            <a:pPr lvl="1"/>
            <a:r>
              <a:rPr lang="en-US" sz="1800" dirty="0" smtClean="0"/>
              <a:t>CRM system is an internal OLTP system of </a:t>
            </a:r>
            <a:r>
              <a:rPr lang="en-US" sz="1800" dirty="0" err="1" smtClean="0"/>
              <a:t>Knab</a:t>
            </a:r>
            <a:r>
              <a:rPr lang="en-US" sz="1800" dirty="0" smtClean="0"/>
              <a:t>. If we have external files then approach will change.</a:t>
            </a:r>
          </a:p>
          <a:p>
            <a:pPr lvl="1"/>
            <a:r>
              <a:rPr lang="en-US" sz="1800" dirty="0" smtClean="0"/>
              <a:t>A </a:t>
            </a:r>
            <a:r>
              <a:rPr lang="en-US" sz="1800" dirty="0"/>
              <a:t>f</a:t>
            </a:r>
            <a:r>
              <a:rPr lang="en-US" sz="1800" dirty="0" smtClean="0"/>
              <a:t>inancial transaction is related to an account and that account must belong to a customer. A customer can have multiple accounts on their name</a:t>
            </a:r>
            <a:r>
              <a:rPr lang="en-US" sz="1800" dirty="0" smtClean="0"/>
              <a:t>.</a:t>
            </a:r>
          </a:p>
          <a:p>
            <a:pPr lvl="1"/>
            <a:r>
              <a:rPr lang="en-US" sz="1800" dirty="0" smtClean="0"/>
              <a:t>An account can be allocated to multiple customers</a:t>
            </a:r>
            <a:endParaRPr lang="en-US" sz="1800" dirty="0"/>
          </a:p>
          <a:p>
            <a:pPr lvl="1"/>
            <a:r>
              <a:rPr lang="en-US" sz="1800" dirty="0" smtClean="0"/>
              <a:t>We will receive an acknowledgement file with filename &amp; record count of each and every source files. </a:t>
            </a:r>
          </a:p>
          <a:p>
            <a:pPr lvl="1"/>
            <a:r>
              <a:rPr lang="en-US" sz="1800" dirty="0" smtClean="0"/>
              <a:t>We will receive an account file with opening balance and closing balance in it on daily basis. </a:t>
            </a:r>
          </a:p>
          <a:p>
            <a:pPr lvl="1"/>
            <a:r>
              <a:rPr lang="en-US" sz="1800" dirty="0" smtClean="0"/>
              <a:t>DNB is giving guarantee 100K per customer, doesn’t matter how many accounts that customer has.</a:t>
            </a:r>
          </a:p>
          <a:p>
            <a:pPr lvl="1"/>
            <a:r>
              <a:rPr lang="en-US" sz="1800" dirty="0" smtClean="0"/>
              <a:t>All attributes within staging table.</a:t>
            </a:r>
          </a:p>
          <a:p>
            <a:pPr lvl="1"/>
            <a:r>
              <a:rPr lang="en-US" sz="1800" dirty="0" smtClean="0"/>
              <a:t>Flat file are in csv format and both </a:t>
            </a:r>
            <a:r>
              <a:rPr lang="en-US" sz="1800" dirty="0" err="1" smtClean="0"/>
              <a:t>crm_a</a:t>
            </a:r>
            <a:r>
              <a:rPr lang="en-US" sz="1800" dirty="0" smtClean="0"/>
              <a:t> &amp; </a:t>
            </a:r>
            <a:r>
              <a:rPr lang="en-US" sz="1800" dirty="0" err="1" smtClean="0"/>
              <a:t>crm_b</a:t>
            </a:r>
            <a:r>
              <a:rPr lang="en-US" sz="1800" dirty="0" smtClean="0"/>
              <a:t> has similar structure. Same for </a:t>
            </a:r>
            <a:r>
              <a:rPr lang="en-US" sz="1800" dirty="0" err="1" smtClean="0"/>
              <a:t>fin_txn_a</a:t>
            </a:r>
            <a:r>
              <a:rPr lang="en-US" sz="1800" dirty="0" smtClean="0"/>
              <a:t> &amp; </a:t>
            </a:r>
            <a:r>
              <a:rPr lang="en-US" sz="1800" dirty="0" err="1" smtClean="0"/>
              <a:t>fin_txn_b</a:t>
            </a:r>
            <a:r>
              <a:rPr lang="en-US" sz="1800" dirty="0" smtClean="0"/>
              <a:t>.</a:t>
            </a:r>
            <a:endParaRPr lang="en-US" sz="1800" dirty="0" smtClean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Assump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65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</a:t>
            </a:r>
            <a:r>
              <a:rPr lang="en-US" dirty="0" smtClean="0"/>
              <a:t>Staging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651" y="1779246"/>
            <a:ext cx="10623666" cy="351248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48115" y="6013642"/>
            <a:ext cx="814838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0070C0"/>
                </a:solidFill>
              </a:rPr>
              <a:t>Staging Loading Job :</a:t>
            </a:r>
          </a:p>
          <a:p>
            <a:r>
              <a:rPr lang="en-GB" sz="1400" dirty="0" smtClean="0">
                <a:hlinkClick r:id="rId3"/>
              </a:rPr>
              <a:t>https</a:t>
            </a:r>
            <a:r>
              <a:rPr lang="en-GB" sz="1400" dirty="0">
                <a:hlinkClick r:id="rId3"/>
              </a:rPr>
              <a:t>://</a:t>
            </a:r>
            <a:r>
              <a:rPr lang="en-GB" sz="1400" dirty="0" smtClean="0">
                <a:hlinkClick r:id="rId3"/>
              </a:rPr>
              <a:t>github.com/Kulamanipradhan0/knab_dwh/blob/main/etl_repo/staging/stg_load.py</a:t>
            </a:r>
            <a:endParaRPr lang="en-GB" sz="1400" dirty="0" smtClean="0"/>
          </a:p>
          <a:p>
            <a:endParaRPr lang="en-GB" sz="1400" dirty="0" smtClean="0"/>
          </a:p>
        </p:txBody>
      </p:sp>
    </p:spTree>
    <p:extLst>
      <p:ext uri="{BB962C8B-B14F-4D97-AF65-F5344CB8AC3E}">
        <p14:creationId xmlns:p14="http://schemas.microsoft.com/office/powerpoint/2010/main" val="297656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Data </a:t>
            </a:r>
            <a:r>
              <a:rPr lang="en-US" dirty="0" smtClean="0"/>
              <a:t>Validation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939782" y="1353312"/>
            <a:ext cx="8915400" cy="3777622"/>
          </a:xfrm>
        </p:spPr>
        <p:txBody>
          <a:bodyPr>
            <a:normAutofit fontScale="92500" lnSpcReduction="10000"/>
          </a:bodyPr>
          <a:lstStyle/>
          <a:p>
            <a:r>
              <a:rPr lang="en-GB" dirty="0" smtClean="0"/>
              <a:t>Data Completeness Validation</a:t>
            </a:r>
          </a:p>
          <a:p>
            <a:pPr lvl="1"/>
            <a:r>
              <a:rPr lang="en-GB" dirty="0" smtClean="0"/>
              <a:t>knab_dwh_ack.txt file containing (</a:t>
            </a:r>
            <a:r>
              <a:rPr lang="en-GB" dirty="0" err="1" smtClean="0"/>
              <a:t>file_name</a:t>
            </a:r>
            <a:r>
              <a:rPr lang="en-GB" dirty="0" smtClean="0"/>
              <a:t>, </a:t>
            </a:r>
            <a:r>
              <a:rPr lang="en-GB" dirty="0" err="1" smtClean="0"/>
              <a:t>record_count</a:t>
            </a:r>
            <a:r>
              <a:rPr lang="en-GB" dirty="0" smtClean="0"/>
              <a:t>)</a:t>
            </a:r>
          </a:p>
          <a:p>
            <a:r>
              <a:rPr lang="en-GB" dirty="0" smtClean="0"/>
              <a:t>Data Correctness Validation</a:t>
            </a:r>
            <a:endParaRPr lang="en-GB" dirty="0"/>
          </a:p>
          <a:p>
            <a:pPr lvl="1"/>
            <a:r>
              <a:rPr lang="en-GB" i="1" dirty="0" smtClean="0"/>
              <a:t>Mandatory Constraints </a:t>
            </a:r>
            <a:r>
              <a:rPr lang="en-GB" i="1" dirty="0" smtClean="0">
                <a:solidFill>
                  <a:srgbClr val="00B0F0"/>
                </a:solidFill>
              </a:rPr>
              <a:t>(</a:t>
            </a:r>
            <a:r>
              <a:rPr lang="en-GB" i="1" dirty="0" err="1" smtClean="0">
                <a:solidFill>
                  <a:srgbClr val="00B0F0"/>
                </a:solidFill>
              </a:rPr>
              <a:t>customer_id</a:t>
            </a:r>
            <a:r>
              <a:rPr lang="en-GB" i="1" dirty="0" smtClean="0">
                <a:solidFill>
                  <a:srgbClr val="00B0F0"/>
                </a:solidFill>
              </a:rPr>
              <a:t> , </a:t>
            </a:r>
            <a:r>
              <a:rPr lang="en-GB" i="1" dirty="0" err="1" smtClean="0">
                <a:solidFill>
                  <a:srgbClr val="00B0F0"/>
                </a:solidFill>
              </a:rPr>
              <a:t>account_no</a:t>
            </a:r>
            <a:r>
              <a:rPr lang="en-GB" i="1" dirty="0" smtClean="0">
                <a:solidFill>
                  <a:srgbClr val="00B0F0"/>
                </a:solidFill>
              </a:rPr>
              <a:t> </a:t>
            </a:r>
            <a:r>
              <a:rPr lang="en-GB" i="1" dirty="0" err="1" smtClean="0">
                <a:solidFill>
                  <a:srgbClr val="00B0F0"/>
                </a:solidFill>
              </a:rPr>
              <a:t>etc</a:t>
            </a:r>
            <a:r>
              <a:rPr lang="en-GB" i="1" dirty="0" smtClean="0">
                <a:solidFill>
                  <a:srgbClr val="00B0F0"/>
                </a:solidFill>
              </a:rPr>
              <a:t>)</a:t>
            </a:r>
          </a:p>
          <a:p>
            <a:pPr lvl="1"/>
            <a:r>
              <a:rPr lang="en-GB" dirty="0"/>
              <a:t>Data-Type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</a:t>
            </a:r>
            <a:r>
              <a:rPr lang="en-GB" dirty="0" err="1" smtClean="0">
                <a:solidFill>
                  <a:srgbClr val="00B0F0"/>
                </a:solidFill>
              </a:rPr>
              <a:t>Txn</a:t>
            </a:r>
            <a:r>
              <a:rPr lang="en-GB" dirty="0" smtClean="0">
                <a:solidFill>
                  <a:srgbClr val="00B0F0"/>
                </a:solidFill>
              </a:rPr>
              <a:t> Amount must be Numeric)</a:t>
            </a:r>
            <a:endParaRPr lang="en-GB" dirty="0">
              <a:solidFill>
                <a:srgbClr val="00B0F0"/>
              </a:solidFill>
            </a:endParaRPr>
          </a:p>
          <a:p>
            <a:pPr lvl="1"/>
            <a:r>
              <a:rPr lang="en-GB" dirty="0"/>
              <a:t>Duplicate </a:t>
            </a:r>
            <a:r>
              <a:rPr lang="en-GB" dirty="0" smtClean="0"/>
              <a:t>Record Constraints </a:t>
            </a:r>
            <a:endParaRPr lang="en-GB" dirty="0"/>
          </a:p>
          <a:p>
            <a:pPr lvl="1"/>
            <a:r>
              <a:rPr lang="en-GB" i="1" dirty="0" smtClean="0"/>
              <a:t>Attribute Value level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</a:t>
            </a:r>
            <a:r>
              <a:rPr lang="en-GB" dirty="0" err="1" smtClean="0">
                <a:solidFill>
                  <a:srgbClr val="00B0F0"/>
                </a:solidFill>
              </a:rPr>
              <a:t>customer_id</a:t>
            </a:r>
            <a:r>
              <a:rPr lang="en-GB" dirty="0" smtClean="0">
                <a:solidFill>
                  <a:srgbClr val="00B0F0"/>
                </a:solidFill>
              </a:rPr>
              <a:t> must starts with “CA”)</a:t>
            </a:r>
            <a:endParaRPr lang="en-GB" i="1" dirty="0" smtClean="0">
              <a:solidFill>
                <a:srgbClr val="00B0F0"/>
              </a:solidFill>
            </a:endParaRPr>
          </a:p>
          <a:p>
            <a:pPr lvl="1"/>
            <a:r>
              <a:rPr lang="en-GB" i="1" dirty="0" smtClean="0"/>
              <a:t>Date/Time Format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Ex : </a:t>
            </a:r>
            <a:r>
              <a:rPr lang="en-GB" dirty="0" err="1" smtClean="0">
                <a:solidFill>
                  <a:srgbClr val="00B0F0"/>
                </a:solidFill>
              </a:rPr>
              <a:t>yyyy</a:t>
            </a:r>
            <a:r>
              <a:rPr lang="en-GB" dirty="0" smtClean="0">
                <a:solidFill>
                  <a:srgbClr val="00B0F0"/>
                </a:solidFill>
              </a:rPr>
              <a:t>-mm-</a:t>
            </a:r>
            <a:r>
              <a:rPr lang="en-GB" dirty="0" err="1" smtClean="0">
                <a:solidFill>
                  <a:srgbClr val="00B0F0"/>
                </a:solidFill>
              </a:rPr>
              <a:t>dd</a:t>
            </a:r>
            <a:r>
              <a:rPr lang="en-GB" dirty="0">
                <a:solidFill>
                  <a:srgbClr val="00B0F0"/>
                </a:solidFill>
              </a:rPr>
              <a:t>)</a:t>
            </a:r>
            <a:endParaRPr lang="en-GB" i="1" dirty="0">
              <a:solidFill>
                <a:srgbClr val="00B0F0"/>
              </a:solidFill>
            </a:endParaRPr>
          </a:p>
          <a:p>
            <a:pPr lvl="1"/>
            <a:r>
              <a:rPr lang="en-GB" dirty="0"/>
              <a:t>Referential Integrity </a:t>
            </a:r>
            <a:r>
              <a:rPr lang="en-GB" dirty="0" smtClean="0"/>
              <a:t>Constraints </a:t>
            </a:r>
            <a:endParaRPr lang="en-GB" dirty="0"/>
          </a:p>
          <a:p>
            <a:r>
              <a:rPr lang="en-GB" dirty="0"/>
              <a:t>Storing bad records in </a:t>
            </a:r>
            <a:r>
              <a:rPr lang="en-GB" dirty="0" err="1"/>
              <a:t>error_log</a:t>
            </a:r>
            <a:r>
              <a:rPr lang="en-GB" dirty="0"/>
              <a:t> table to monitor and discuss with source systems to fix if required.</a:t>
            </a:r>
          </a:p>
        </p:txBody>
      </p:sp>
    </p:spTree>
    <p:extLst>
      <p:ext uri="{BB962C8B-B14F-4D97-AF65-F5344CB8AC3E}">
        <p14:creationId xmlns:p14="http://schemas.microsoft.com/office/powerpoint/2010/main" val="324788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_.17EHrF6whtKAUY9t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U_.fDPpD9kJYx6U4J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7qvjkPSSGXdZpWZY4q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670U9LQVWErRVWUNo0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1wY6uTZiuNay_Y77X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z4jRfaw9pZagkPh4mq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WbwvTRJKe1AZ9ZvH2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F_KE4TOyZb6Zdim4q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cd677kRICsQQmM06.3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1dcnERMuWwMYIdAB6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YKmLYwSfetZvBuL4dv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A0pBE4Q9C0yg0aS_RX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Knab Theme">
  <a:themeElements>
    <a:clrScheme name="Daan">
      <a:dk1>
        <a:srgbClr val="000000"/>
      </a:dk1>
      <a:lt1>
        <a:srgbClr val="FFFFFF"/>
      </a:lt1>
      <a:dk2>
        <a:srgbClr val="003B5A"/>
      </a:dk2>
      <a:lt2>
        <a:srgbClr val="EEF2F2"/>
      </a:lt2>
      <a:accent1>
        <a:srgbClr val="00A3A7"/>
      </a:accent1>
      <a:accent2>
        <a:srgbClr val="DEE0E3"/>
      </a:accent2>
      <a:accent3>
        <a:srgbClr val="003B5A"/>
      </a:accent3>
      <a:accent4>
        <a:srgbClr val="E85875"/>
      </a:accent4>
      <a:accent5>
        <a:srgbClr val="FBC037"/>
      </a:accent5>
      <a:accent6>
        <a:srgbClr val="00BFC4"/>
      </a:accent6>
      <a:hlink>
        <a:srgbClr val="004F76"/>
      </a:hlink>
      <a:folHlink>
        <a:srgbClr val="EA6881"/>
      </a:folHlink>
    </a:clrScheme>
    <a:fontScheme name="Kna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Knab Theme" id="{26AB789D-961D-9245-B629-CEE60EBD2278}" vid="{916A9AD8-B5B9-2E40-BD3B-DFB7C56B021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1</TotalTime>
  <Words>1036</Words>
  <Application>Microsoft Office PowerPoint</Application>
  <PresentationFormat>Custom</PresentationFormat>
  <Paragraphs>160</Paragraphs>
  <Slides>2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Wisp</vt:lpstr>
      <vt:lpstr>Knab Theme</vt:lpstr>
      <vt:lpstr>think-cell Slide</vt:lpstr>
      <vt:lpstr> Financial Data Warehouse</vt:lpstr>
      <vt:lpstr>Agenda</vt:lpstr>
      <vt:lpstr>About me</vt:lpstr>
      <vt:lpstr>Ca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azon Data Warehouse</dc:title>
  <dc:creator>Microsoft Office User</dc:creator>
  <cp:lastModifiedBy>Sonali Pradhan</cp:lastModifiedBy>
  <cp:revision>135</cp:revision>
  <dcterms:created xsi:type="dcterms:W3CDTF">2021-08-07T16:07:04Z</dcterms:created>
  <dcterms:modified xsi:type="dcterms:W3CDTF">2023-02-12T19:4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069954118</vt:i4>
  </property>
  <property fmtid="{D5CDD505-2E9C-101B-9397-08002B2CF9AE}" pid="3" name="_NewReviewCycle">
    <vt:lpwstr/>
  </property>
  <property fmtid="{D5CDD505-2E9C-101B-9397-08002B2CF9AE}" pid="4" name="_EmailSubject">
    <vt:lpwstr>ta ppt</vt:lpwstr>
  </property>
  <property fmtid="{D5CDD505-2E9C-101B-9397-08002B2CF9AE}" pid="5" name="_AuthorEmail">
    <vt:lpwstr>Kulamani.Pradhan@abnamroclearing.com</vt:lpwstr>
  </property>
  <property fmtid="{D5CDD505-2E9C-101B-9397-08002B2CF9AE}" pid="6" name="_AuthorEmailDisplayName">
    <vt:lpwstr>Pradhan, Kulamani</vt:lpwstr>
  </property>
</Properties>
</file>